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66"/>
  </p:notesMasterIdLst>
  <p:handoutMasterIdLst>
    <p:handoutMasterId r:id="rId67"/>
  </p:handoutMasterIdLst>
  <p:sldIdLst>
    <p:sldId id="445" r:id="rId2"/>
    <p:sldId id="595" r:id="rId3"/>
    <p:sldId id="521" r:id="rId4"/>
    <p:sldId id="519" r:id="rId5"/>
    <p:sldId id="504" r:id="rId6"/>
    <p:sldId id="510" r:id="rId7"/>
    <p:sldId id="499" r:id="rId8"/>
    <p:sldId id="527" r:id="rId9"/>
    <p:sldId id="530" r:id="rId10"/>
    <p:sldId id="520" r:id="rId11"/>
    <p:sldId id="528" r:id="rId12"/>
    <p:sldId id="531" r:id="rId13"/>
    <p:sldId id="525" r:id="rId14"/>
    <p:sldId id="537" r:id="rId15"/>
    <p:sldId id="542" r:id="rId16"/>
    <p:sldId id="543" r:id="rId17"/>
    <p:sldId id="544" r:id="rId18"/>
    <p:sldId id="546" r:id="rId19"/>
    <p:sldId id="575" r:id="rId20"/>
    <p:sldId id="547" r:id="rId21"/>
    <p:sldId id="550" r:id="rId22"/>
    <p:sldId id="541" r:id="rId23"/>
    <p:sldId id="526" r:id="rId24"/>
    <p:sldId id="554" r:id="rId25"/>
    <p:sldId id="539" r:id="rId26"/>
    <p:sldId id="551" r:id="rId27"/>
    <p:sldId id="552" r:id="rId28"/>
    <p:sldId id="578" r:id="rId29"/>
    <p:sldId id="559" r:id="rId30"/>
    <p:sldId id="593" r:id="rId31"/>
    <p:sldId id="556" r:id="rId32"/>
    <p:sldId id="560" r:id="rId33"/>
    <p:sldId id="557" r:id="rId34"/>
    <p:sldId id="562" r:id="rId35"/>
    <p:sldId id="558" r:id="rId36"/>
    <p:sldId id="563" r:id="rId37"/>
    <p:sldId id="564" r:id="rId38"/>
    <p:sldId id="565" r:id="rId39"/>
    <p:sldId id="567" r:id="rId40"/>
    <p:sldId id="569" r:id="rId41"/>
    <p:sldId id="570" r:id="rId42"/>
    <p:sldId id="572" r:id="rId43"/>
    <p:sldId id="573" r:id="rId44"/>
    <p:sldId id="576" r:id="rId45"/>
    <p:sldId id="577" r:id="rId46"/>
    <p:sldId id="580" r:id="rId47"/>
    <p:sldId id="581" r:id="rId48"/>
    <p:sldId id="582" r:id="rId49"/>
    <p:sldId id="583" r:id="rId50"/>
    <p:sldId id="584" r:id="rId51"/>
    <p:sldId id="585" r:id="rId52"/>
    <p:sldId id="589" r:id="rId53"/>
    <p:sldId id="590" r:id="rId54"/>
    <p:sldId id="591" r:id="rId55"/>
    <p:sldId id="592" r:id="rId56"/>
    <p:sldId id="579" r:id="rId57"/>
    <p:sldId id="548" r:id="rId58"/>
    <p:sldId id="549" r:id="rId59"/>
    <p:sldId id="596" r:id="rId60"/>
    <p:sldId id="594" r:id="rId61"/>
    <p:sldId id="586" r:id="rId62"/>
    <p:sldId id="523" r:id="rId63"/>
    <p:sldId id="514" r:id="rId64"/>
    <p:sldId id="500" r:id="rId65"/>
  </p:sldIdLst>
  <p:sldSz cx="9144000" cy="5143500" type="screen16x9"/>
  <p:notesSz cx="6797675" cy="9928225"/>
  <p:custDataLst>
    <p:tags r:id="rId68"/>
  </p:custDataLst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13">
          <p15:clr>
            <a:srgbClr val="A4A3A4"/>
          </p15:clr>
        </p15:guide>
        <p15:guide id="2" orient="horz" pos="2887">
          <p15:clr>
            <a:srgbClr val="A4A3A4"/>
          </p15:clr>
        </p15:guide>
        <p15:guide id="3" orient="horz" pos="565">
          <p15:clr>
            <a:srgbClr val="A4A3A4"/>
          </p15:clr>
        </p15:guide>
        <p15:guide id="4" orient="horz" pos="74">
          <p15:clr>
            <a:srgbClr val="A4A3A4"/>
          </p15:clr>
        </p15:guide>
        <p15:guide id="5" pos="267">
          <p15:clr>
            <a:srgbClr val="A4A3A4"/>
          </p15:clr>
        </p15:guide>
        <p15:guide id="6" pos="5497">
          <p15:clr>
            <a:srgbClr val="A4A3A4"/>
          </p15:clr>
        </p15:guide>
        <p15:guide id="7" pos="575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C900"/>
    <a:srgbClr val="E01712"/>
    <a:srgbClr val="008000"/>
    <a:srgbClr val="E2AC00"/>
    <a:srgbClr val="006600"/>
    <a:srgbClr val="000000"/>
    <a:srgbClr val="00CCFF"/>
    <a:srgbClr val="750C09"/>
    <a:srgbClr val="33CCCC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32" autoAdjust="0"/>
    <p:restoredTop sz="73895" autoAdjust="0"/>
  </p:normalViewPr>
  <p:slideViewPr>
    <p:cSldViewPr snapToGrid="0" snapToObjects="1" showGuides="1">
      <p:cViewPr varScale="1">
        <p:scale>
          <a:sx n="167" d="100"/>
          <a:sy n="167" d="100"/>
        </p:scale>
        <p:origin x="1960" y="176"/>
      </p:cViewPr>
      <p:guideLst>
        <p:guide orient="horz" pos="713"/>
        <p:guide orient="horz" pos="2887"/>
        <p:guide orient="horz" pos="565"/>
        <p:guide orient="horz" pos="74"/>
        <p:guide pos="267"/>
        <p:guide pos="5497"/>
        <p:guide pos="57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tags" Target="tags/tag1.xml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338DF9-39A8-5A4D-AD39-3E7947FBDA10}" type="datetimeFigureOut">
              <a:rPr lang="en-US" smtClean="0"/>
              <a:t>7/21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EEC34-554C-CE4F-97AF-A326C8BA2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3168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7/21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72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4660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1628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9068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7249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101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2479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e: ROC &amp; AUC for binary classification probl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3523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5613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003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90994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848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0233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9662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83869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35369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35931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61044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18376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17010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21779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94726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678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37914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89002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64308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46375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9501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50979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39865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92958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39525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67390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3676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31203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87558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e: this specifically describes the CART algorithm…</a:t>
            </a:r>
          </a:p>
          <a:p>
            <a:r>
              <a:rPr lang="en-GB" dirty="0"/>
              <a:t>There are (many) other algorithms but similar princip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00675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e: this specifically describes the CART algorithm…</a:t>
            </a:r>
          </a:p>
          <a:p>
            <a:r>
              <a:rPr lang="en-GB" dirty="0"/>
              <a:t>There are (many) other algorithms but similar princip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7626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25910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93530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33620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56331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79237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89564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5087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881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76037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84845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52449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18370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18790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12944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844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3546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7683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4992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80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16188" y="4813786"/>
            <a:ext cx="8929083" cy="270965"/>
            <a:chOff x="6337134" y="2762841"/>
            <a:chExt cx="2806866" cy="361287"/>
          </a:xfrm>
        </p:grpSpPr>
        <p:sp>
          <p:nvSpPr>
            <p:cNvPr id="6" name="Rectangle 5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10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2523" y="128682"/>
            <a:ext cx="712800" cy="729000"/>
          </a:xfrm>
          <a:prstGeom prst="rect">
            <a:avLst/>
          </a:prstGeom>
        </p:spPr>
      </p:pic>
      <p:sp>
        <p:nvSpPr>
          <p:cNvPr id="13" name="Rectangle 2"/>
          <p:cNvSpPr>
            <a:spLocks noChangeArrowheads="1"/>
          </p:cNvSpPr>
          <p:nvPr userDrawn="1"/>
        </p:nvSpPr>
        <p:spPr bwMode="auto">
          <a:xfrm>
            <a:off x="0" y="-6892"/>
            <a:ext cx="9162000" cy="913417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269735"/>
            <a:ext cx="7471188" cy="6237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8154546" y="245881"/>
            <a:ext cx="667515" cy="718185"/>
            <a:chOff x="8154546" y="245881"/>
            <a:chExt cx="667515" cy="718185"/>
          </a:xfrm>
        </p:grpSpPr>
        <p:sp>
          <p:nvSpPr>
            <p:cNvPr id="16" name="Rectangle 2"/>
            <p:cNvSpPr>
              <a:spLocks noChangeArrowheads="1"/>
            </p:cNvSpPr>
            <p:nvPr userDrawn="1"/>
          </p:nvSpPr>
          <p:spPr bwMode="auto">
            <a:xfrm>
              <a:off x="8154546" y="253572"/>
              <a:ext cx="667515" cy="70280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anchor="ctr"/>
            <a:lstStyle/>
            <a:p>
              <a:endParaRPr lang="en-US">
                <a:latin typeface="Calibri" pitchFamily="34" charset="0"/>
              </a:endParaRPr>
            </a:p>
          </p:txBody>
        </p:sp>
        <p:pic>
          <p:nvPicPr>
            <p:cNvPr id="18" name="Picture 17" descr="logo.pdf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4969" y="245881"/>
              <a:ext cx="526669" cy="718185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269735"/>
            <a:ext cx="7815958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296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3180218"/>
            <a:ext cx="6400800" cy="212366"/>
          </a:xfrm>
        </p:spPr>
        <p:txBody>
          <a:bodyPr tIns="15585" bIns="15585">
            <a:noAutofit/>
          </a:bodyPr>
          <a:lstStyle>
            <a:lvl1pPr algn="ctr"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Date (Arial 16pt, Black)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16188" y="4813786"/>
            <a:ext cx="8931036" cy="270965"/>
            <a:chOff x="6337134" y="2762841"/>
            <a:chExt cx="2806866" cy="361287"/>
          </a:xfrm>
        </p:grpSpPr>
        <p:sp>
          <p:nvSpPr>
            <p:cNvPr id="11" name="Rectangle 10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38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1371600" y="3969092"/>
            <a:ext cx="6400800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ame / other info</a:t>
            </a:r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1" y="2444258"/>
            <a:ext cx="7772398" cy="669360"/>
          </a:xfrm>
        </p:spPr>
        <p:txBody>
          <a:bodyPr tIns="15585" bIns="15585" anchor="b">
            <a:noAutofit/>
          </a:bodyPr>
          <a:lstStyle>
            <a:lvl1pPr algn="ctr">
              <a:defRPr sz="2000" b="0">
                <a:latin typeface="+mj-lt"/>
              </a:defRPr>
            </a:lvl1pPr>
          </a:lstStyle>
          <a:p>
            <a:pPr lvl="0"/>
            <a:r>
              <a:rPr lang="en-US" dirty="0"/>
              <a:t>Subtitle in Title Case (Arial 24pt, Black)</a:t>
            </a:r>
          </a:p>
        </p:txBody>
      </p:sp>
      <p:sp>
        <p:nvSpPr>
          <p:cNvPr id="41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1" y="1283811"/>
            <a:ext cx="7772398" cy="1102519"/>
          </a:xfrm>
        </p:spPr>
        <p:txBody>
          <a:bodyPr tIns="15585" bIns="15585" anchor="ctr">
            <a:noAutofit/>
          </a:bodyPr>
          <a:lstStyle>
            <a:lvl1pPr algn="ctr">
              <a:spcBef>
                <a:spcPts val="0"/>
              </a:spcBef>
              <a:defRPr sz="2700" b="1">
                <a:solidFill>
                  <a:srgbClr val="B0120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in Title Case</a:t>
            </a:r>
            <a:br>
              <a:rPr lang="en-US" dirty="0"/>
            </a:br>
            <a:r>
              <a:rPr lang="en-US" dirty="0"/>
              <a:t>(Arial Bold 32pt, Dark Red)</a:t>
            </a:r>
          </a:p>
        </p:txBody>
      </p:sp>
      <p:pic>
        <p:nvPicPr>
          <p:cNvPr id="16" name="Picture 15" descr="logo.pdf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5780" y="263482"/>
            <a:ext cx="708279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26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371600" y="3969092"/>
            <a:ext cx="6400800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ame / other info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1" y="2444258"/>
            <a:ext cx="7772398" cy="669360"/>
          </a:xfrm>
        </p:spPr>
        <p:txBody>
          <a:bodyPr tIns="15585" bIns="15585" anchor="b">
            <a:noAutofit/>
          </a:bodyPr>
          <a:lstStyle>
            <a:lvl1pPr algn="ctr">
              <a:defRPr sz="2000" b="0">
                <a:latin typeface="+mj-lt"/>
              </a:defRPr>
            </a:lvl1pPr>
          </a:lstStyle>
          <a:p>
            <a:pPr lvl="0"/>
            <a:r>
              <a:rPr lang="en-US" dirty="0"/>
              <a:t>Subtitle in Title Case (Arial 24pt, Black)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3180218"/>
            <a:ext cx="6400800" cy="212366"/>
          </a:xfrm>
        </p:spPr>
        <p:txBody>
          <a:bodyPr tIns="15585" bIns="15585">
            <a:noAutofit/>
          </a:bodyPr>
          <a:lstStyle>
            <a:lvl1pPr algn="ctr"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Date (Arial 16pt, Black)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1" y="1283811"/>
            <a:ext cx="7772398" cy="1102519"/>
          </a:xfrm>
        </p:spPr>
        <p:txBody>
          <a:bodyPr tIns="15585" bIns="15585" anchor="ctr">
            <a:noAutofit/>
          </a:bodyPr>
          <a:lstStyle>
            <a:lvl1pPr algn="ctr">
              <a:spcBef>
                <a:spcPts val="0"/>
              </a:spcBef>
              <a:defRPr sz="2700" b="1">
                <a:solidFill>
                  <a:srgbClr val="B0120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in Title Case</a:t>
            </a:r>
            <a:br>
              <a:rPr lang="en-US" dirty="0"/>
            </a:br>
            <a:r>
              <a:rPr lang="en-US" dirty="0"/>
              <a:t>(Arial Bold 32pt, Dark Red)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pic>
        <p:nvPicPr>
          <p:cNvPr id="22" name="Picture 21" descr="logo.pd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978" y="4319136"/>
            <a:ext cx="544830" cy="742950"/>
          </a:xfrm>
          <a:prstGeom prst="rect">
            <a:avLst/>
          </a:prstGeom>
        </p:spPr>
      </p:pic>
      <p:grpSp>
        <p:nvGrpSpPr>
          <p:cNvPr id="25" name="Group 24"/>
          <p:cNvGrpSpPr/>
          <p:nvPr userDrawn="1"/>
        </p:nvGrpSpPr>
        <p:grpSpPr>
          <a:xfrm>
            <a:off x="387288" y="4745500"/>
            <a:ext cx="4191000" cy="252000"/>
            <a:chOff x="6337134" y="2762841"/>
            <a:chExt cx="1403652" cy="361287"/>
          </a:xfrm>
        </p:grpSpPr>
        <p:sp>
          <p:nvSpPr>
            <p:cNvPr id="27" name="Rectangle 26"/>
            <p:cNvSpPr/>
            <p:nvPr/>
          </p:nvSpPr>
          <p:spPr>
            <a:xfrm>
              <a:off x="6337134" y="2762841"/>
              <a:ext cx="1403652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337134" y="2896203"/>
              <a:ext cx="1403652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337134" y="3029563"/>
              <a:ext cx="1403652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-3108" y="0"/>
            <a:ext cx="9147108" cy="330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en-US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ext Placeholder 2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2032" y="4847825"/>
            <a:ext cx="4149968" cy="212366"/>
          </a:xfrm>
        </p:spPr>
        <p:txBody>
          <a:bodyPr tIns="15585" bIns="15585">
            <a:noAutofit/>
          </a:bodyPr>
          <a:lstStyle>
            <a:lvl1pPr>
              <a:defRPr sz="1400" b="0">
                <a:latin typeface="+mj-lt"/>
              </a:defRPr>
            </a:lvl1pPr>
          </a:lstStyle>
          <a:p>
            <a:pPr lvl="0"/>
            <a:r>
              <a:rPr lang="en-US" dirty="0"/>
              <a:t>Date (Arial 16pt, Black)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/>
          </p:nvPr>
        </p:nvSpPr>
        <p:spPr>
          <a:xfrm>
            <a:off x="4765524" y="1172123"/>
            <a:ext cx="4343530" cy="101294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6" name="Subtitle 4"/>
          <p:cNvSpPr>
            <a:spLocks noGrp="1"/>
          </p:cNvSpPr>
          <p:nvPr>
            <p:ph type="body" sz="quarter" idx="10"/>
          </p:nvPr>
        </p:nvSpPr>
        <p:spPr>
          <a:xfrm>
            <a:off x="4765524" y="2217583"/>
            <a:ext cx="4343530" cy="63709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4572000" y="2943445"/>
            <a:ext cx="4572000" cy="358555"/>
            <a:chOff x="6865228" y="3924592"/>
            <a:chExt cx="3040772" cy="361287"/>
          </a:xfrm>
        </p:grpSpPr>
        <p:sp>
          <p:nvSpPr>
            <p:cNvPr id="18" name="Rectangle 17"/>
            <p:cNvSpPr/>
            <p:nvPr/>
          </p:nvSpPr>
          <p:spPr>
            <a:xfrm>
              <a:off x="6865228" y="3924592"/>
              <a:ext cx="3040772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865228" y="4057954"/>
              <a:ext cx="3040772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txBody>
            <a:bodyPr wrap="none" anchor="ctr"/>
            <a:lstStyle/>
            <a:p>
              <a:endParaRPr lang="en-US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865228" y="4191314"/>
              <a:ext cx="3040772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23" name="Picture 22" descr="logo.pdf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2934" y="20599"/>
            <a:ext cx="1064721" cy="134020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781314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11" name="Picture 10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28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fld id="{B31D7A4E-C928-1843-B0B6-6EFCF3987C19}" type="datetimeFigureOut">
              <a:rPr lang="en-US" smtClean="0"/>
              <a:t>7/21/21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endParaRPr lang="en-US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/>
          <a:p>
            <a:fld id="{433E4C0E-AD51-6C4B-A21E-8AFB2F954A27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10" name="Picture 9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188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9" name="Picture 8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5" name="Picture 4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087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86989" y="880518"/>
            <a:ext cx="8442723" cy="623841"/>
          </a:xfrm>
        </p:spPr>
        <p:txBody>
          <a:bodyPr>
            <a:normAutofit/>
          </a:bodyPr>
          <a:lstStyle/>
          <a:p>
            <a:r>
              <a:rPr lang="en-GB" sz="3400"/>
              <a:t>Click to edit Master title style</a:t>
            </a:r>
            <a:endParaRPr lang="en-US" sz="3400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260804" y="254497"/>
            <a:ext cx="8773541" cy="340297"/>
          </a:xfrm>
          <a:prstGeom prst="rect">
            <a:avLst/>
          </a:prstGeom>
          <a:noFill/>
        </p:spPr>
        <p:txBody>
          <a:bodyPr wrap="square" lIns="77925" tIns="38963" rIns="77925" bIns="38963" rtlCol="0">
            <a:spAutoFit/>
          </a:bodyPr>
          <a:lstStyle/>
          <a:p>
            <a:r>
              <a:rPr lang="en-US" sz="1700" dirty="0">
                <a:latin typeface="Calibri"/>
                <a:cs typeface="Calibri"/>
              </a:rPr>
              <a:t>Malawi-Liverpool-Wellcome Trust Clinical Research Programm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286988" y="581416"/>
            <a:ext cx="6769893" cy="270965"/>
            <a:chOff x="6337134" y="2762841"/>
            <a:chExt cx="2806866" cy="361287"/>
          </a:xfrm>
        </p:grpSpPr>
        <p:sp>
          <p:nvSpPr>
            <p:cNvPr id="21" name="Rectangle 20"/>
            <p:cNvSpPr/>
            <p:nvPr/>
          </p:nvSpPr>
          <p:spPr>
            <a:xfrm>
              <a:off x="6337134" y="2762841"/>
              <a:ext cx="2806866" cy="945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337134" y="2896203"/>
              <a:ext cx="2806866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337134" y="3029563"/>
              <a:ext cx="2806866" cy="945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200"/>
            </a:lvl1pPr>
          </a:lstStyle>
          <a:p>
            <a:r>
              <a:rPr lang="en-GB"/>
              <a:t>1-Mar-17</a:t>
            </a:r>
            <a:endParaRPr lang="en-US" dirty="0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sz="1200"/>
            </a:lvl1pPr>
          </a:lstStyle>
          <a:p>
            <a:fld id="{433E4C0E-AD51-6C4B-A21E-8AFB2F954A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3"/>
          </p:nvPr>
        </p:nvSpPr>
        <p:spPr>
          <a:xfrm>
            <a:off x="287216" y="1693667"/>
            <a:ext cx="8442081" cy="2808685"/>
          </a:xfrm>
        </p:spPr>
        <p:txBody>
          <a:bodyPr/>
          <a:lstStyle/>
          <a:p>
            <a:r>
              <a:rPr lang="en-GB"/>
              <a:t>Click icon to add media</a:t>
            </a:r>
            <a:endParaRPr lang="en-US"/>
          </a:p>
        </p:txBody>
      </p:sp>
      <p:pic>
        <p:nvPicPr>
          <p:cNvPr id="14" name="Picture 13" descr="logo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988" y="245881"/>
            <a:ext cx="526669" cy="71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465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131300"/>
            <a:ext cx="8301046" cy="344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33" name="Title Placeholder 32"/>
          <p:cNvSpPr>
            <a:spLocks noGrp="1"/>
          </p:cNvSpPr>
          <p:nvPr>
            <p:ph type="title"/>
          </p:nvPr>
        </p:nvSpPr>
        <p:spPr>
          <a:xfrm>
            <a:off x="422030" y="269735"/>
            <a:ext cx="8301046" cy="623700"/>
          </a:xfrm>
          <a:prstGeom prst="rect">
            <a:avLst/>
          </a:prstGeom>
        </p:spPr>
        <p:txBody>
          <a:bodyPr vert="horz" lIns="0" tIns="38963" rIns="0" bIns="38963" rtlCol="0" anchor="ctr" anchorCtr="0">
            <a:noAutofit/>
          </a:bodyPr>
          <a:lstStyle/>
          <a:p>
            <a:pPr marL="0" marR="0" lvl="0" indent="0" algn="l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5F12C31-0816-554B-87C1-5C8E694615A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4847965"/>
            <a:ext cx="703655" cy="29553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63D1A8B-C4EC-4E49-9E91-5ABB89523881}"/>
              </a:ext>
            </a:extLst>
          </p:cNvPr>
          <p:cNvSpPr txBox="1"/>
          <p:nvPr userDrawn="1"/>
        </p:nvSpPr>
        <p:spPr>
          <a:xfrm>
            <a:off x="631902" y="4847965"/>
            <a:ext cx="4081345" cy="304868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MW" sz="800" dirty="0"/>
              <a:t>This work is licensed under a Creative Commons Attribution 4.0 International license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1" r:id="rId2"/>
    <p:sldLayoutId id="2147483649" r:id="rId3"/>
    <p:sldLayoutId id="2147483658" r:id="rId4"/>
    <p:sldLayoutId id="2147483666" r:id="rId5"/>
    <p:sldLayoutId id="2147483663" r:id="rId6"/>
    <p:sldLayoutId id="2147483654" r:id="rId7"/>
    <p:sldLayoutId id="2147483664" r:id="rId8"/>
    <p:sldLayoutId id="2147483662" r:id="rId9"/>
    <p:sldLayoutId id="2147483655" r:id="rId10"/>
    <p:sldLayoutId id="2147483665" r:id="rId11"/>
  </p:sldLayoutIdLst>
  <p:hf hdr="0" ftr="0" dt="0"/>
  <p:txStyles>
    <p:titleStyle>
      <a:lvl1pPr algn="l" defTabSz="779252" rtl="0" eaLnBrk="1" latinLnBrk="0" hangingPunct="1">
        <a:spcBef>
          <a:spcPct val="0"/>
        </a:spcBef>
        <a:buNone/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779252" rtl="0" eaLnBrk="1" latinLnBrk="0" hangingPunct="1">
        <a:spcBef>
          <a:spcPct val="200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indent="-194813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indent="-194813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72937" indent="-198871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4670" indent="-196166" algn="l" defTabSz="779252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7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21.png"/><Relationship Id="rId4" Type="http://schemas.openxmlformats.org/officeDocument/2006/relationships/image" Target="../media/image13.png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itMarcH/IndabaX_2021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hyperlink" Target="https://cran.r-project.org/" TargetMode="Externa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topepo.github.io/caret/index.html" TargetMode="External"/><Relationship Id="rId5" Type="http://schemas.openxmlformats.org/officeDocument/2006/relationships/hyperlink" Target="https://www.cs.waikato.ac.nz/ml/weka/" TargetMode="External"/><Relationship Id="rId4" Type="http://schemas.openxmlformats.org/officeDocument/2006/relationships/hyperlink" Target="https://www.python.org/" TargetMode="Externa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itMarcH/IndabaX_2021" TargetMode="Externa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E297F34-81B0-4D7A-9A6B-5F3F4046EA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7576" y="1434431"/>
            <a:ext cx="1158289" cy="11582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5CB195D-D7DE-40A9-8D73-757A29DA6DEE}"/>
              </a:ext>
            </a:extLst>
          </p:cNvPr>
          <p:cNvSpPr txBox="1"/>
          <p:nvPr/>
        </p:nvSpPr>
        <p:spPr>
          <a:xfrm>
            <a:off x="2291568" y="1434431"/>
            <a:ext cx="4560864" cy="3474967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2400" b="1" dirty="0" err="1"/>
              <a:t>IndabaX</a:t>
            </a:r>
            <a:r>
              <a:rPr lang="en-GB" sz="2400" b="1" dirty="0"/>
              <a:t> Malawi</a:t>
            </a:r>
          </a:p>
          <a:p>
            <a:pPr algn="ctr"/>
            <a:r>
              <a:rPr lang="en-GB" sz="1400" dirty="0"/>
              <a:t>22 July 2021</a:t>
            </a:r>
          </a:p>
          <a:p>
            <a:pPr algn="ctr"/>
            <a:endParaRPr lang="en-GB" sz="1600" dirty="0"/>
          </a:p>
          <a:p>
            <a:pPr algn="ctr"/>
            <a:r>
              <a:rPr lang="en-GB" sz="1800" dirty="0"/>
              <a:t>Marc </a:t>
            </a:r>
            <a:r>
              <a:rPr lang="en-GB" sz="1800" dirty="0" err="1"/>
              <a:t>Henrion</a:t>
            </a:r>
            <a:endParaRPr lang="en-GB" sz="1800" dirty="0"/>
          </a:p>
          <a:p>
            <a:pPr algn="ctr"/>
            <a:r>
              <a:rPr lang="en-GB" sz="1200" dirty="0"/>
              <a:t>Statistical Support Unit, MLW</a:t>
            </a:r>
          </a:p>
          <a:p>
            <a:pPr algn="ctr"/>
            <a:r>
              <a:rPr lang="en-GB" sz="1200" dirty="0"/>
              <a:t>Biostatistics Associate Research Group, MLW</a:t>
            </a:r>
          </a:p>
          <a:p>
            <a:pPr algn="ctr"/>
            <a:r>
              <a:rPr lang="en-GB" sz="1200" dirty="0"/>
              <a:t>Clinical Sciences, LSTM</a:t>
            </a:r>
          </a:p>
          <a:p>
            <a:pPr algn="ctr"/>
            <a:endParaRPr lang="en-GB" sz="2400" b="1" dirty="0"/>
          </a:p>
          <a:p>
            <a:pPr algn="ctr"/>
            <a:r>
              <a:rPr lang="en-GB" sz="2400" b="1" dirty="0"/>
              <a:t>Statistics &amp; Machine Learning</a:t>
            </a:r>
          </a:p>
          <a:p>
            <a:pPr algn="ctr"/>
            <a:endParaRPr lang="en-GB" sz="2400" b="1" dirty="0"/>
          </a:p>
          <a:p>
            <a:pPr algn="ctr"/>
            <a:r>
              <a:rPr lang="en-GB" sz="1400" b="1" dirty="0">
                <a:solidFill>
                  <a:srgbClr val="92D050"/>
                </a:solidFill>
              </a:rPr>
              <a:t>mhenrion@mlw.mw</a:t>
            </a:r>
          </a:p>
          <a:p>
            <a:pPr algn="ctr"/>
            <a:r>
              <a:rPr lang="en-GB" sz="1400" b="1" dirty="0">
                <a:solidFill>
                  <a:srgbClr val="92D050"/>
                </a:solidFill>
              </a:rPr>
              <a:t>www.marchenrion.com</a:t>
            </a:r>
          </a:p>
        </p:txBody>
      </p:sp>
    </p:spTree>
    <p:extLst>
      <p:ext uri="{BB962C8B-B14F-4D97-AF65-F5344CB8AC3E}">
        <p14:creationId xmlns:p14="http://schemas.microsoft.com/office/powerpoint/2010/main" val="18314682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18" y="2012659"/>
            <a:ext cx="7843563" cy="623700"/>
          </a:xfrm>
        </p:spPr>
        <p:txBody>
          <a:bodyPr/>
          <a:lstStyle/>
          <a:p>
            <a:pPr algn="ctr"/>
            <a:r>
              <a:rPr lang="en-GB" dirty="0"/>
              <a:t>… &amp; statistics?</a:t>
            </a:r>
          </a:p>
        </p:txBody>
      </p:sp>
    </p:spTree>
    <p:extLst>
      <p:ext uri="{BB962C8B-B14F-4D97-AF65-F5344CB8AC3E}">
        <p14:creationId xmlns:p14="http://schemas.microsoft.com/office/powerpoint/2010/main" val="542404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 indent="0">
              <a:buNone/>
            </a:pPr>
            <a:endParaRPr lang="en-GB" sz="1600" dirty="0"/>
          </a:p>
          <a:p>
            <a:pPr lvl="1" indent="0">
              <a:buNone/>
            </a:pPr>
            <a:endParaRPr lang="en-GB" sz="1400" dirty="0"/>
          </a:p>
          <a:p>
            <a:pPr lvl="1" indent="0">
              <a:buNone/>
            </a:pPr>
            <a:endParaRPr lang="en-GB" sz="1400" dirty="0"/>
          </a:p>
          <a:p>
            <a:r>
              <a:rPr lang="en-US" dirty="0"/>
              <a:t>“When you’re fundraising, it’s AI.</a:t>
            </a:r>
          </a:p>
          <a:p>
            <a:r>
              <a:rPr lang="en-US" dirty="0"/>
              <a:t>  When you’re hiring, it’s ML.</a:t>
            </a:r>
          </a:p>
          <a:p>
            <a:r>
              <a:rPr lang="en-US" dirty="0"/>
              <a:t>  When you’re implementing, it’s logistic regression.”</a:t>
            </a:r>
          </a:p>
          <a:p>
            <a:r>
              <a:rPr lang="en-US" b="0" dirty="0"/>
              <a:t>								</a:t>
            </a:r>
            <a:r>
              <a:rPr lang="en-US" sz="1050" b="0" dirty="0"/>
              <a:t>The internet.</a:t>
            </a:r>
            <a:endParaRPr lang="en-GB" sz="1050" b="0" dirty="0"/>
          </a:p>
        </p:txBody>
      </p:sp>
    </p:spTree>
    <p:extLst>
      <p:ext uri="{BB962C8B-B14F-4D97-AF65-F5344CB8AC3E}">
        <p14:creationId xmlns:p14="http://schemas.microsoft.com/office/powerpoint/2010/main" val="625059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E2C11320-C432-47C8-BA99-848C42064915}"/>
              </a:ext>
            </a:extLst>
          </p:cNvPr>
          <p:cNvGrpSpPr/>
          <p:nvPr/>
        </p:nvGrpSpPr>
        <p:grpSpPr>
          <a:xfrm>
            <a:off x="2319744" y="3543555"/>
            <a:ext cx="2673505" cy="1563572"/>
            <a:chOff x="6470494" y="3579928"/>
            <a:chExt cx="2673505" cy="15635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8B14A12-8145-4839-92FC-9AAA2F040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06234" y="3579928"/>
              <a:ext cx="2137765" cy="1563572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9F3F940-7ADC-411C-A479-6F545C041E77}"/>
                </a:ext>
              </a:extLst>
            </p:cNvPr>
            <p:cNvSpPr txBox="1"/>
            <p:nvPr/>
          </p:nvSpPr>
          <p:spPr>
            <a:xfrm>
              <a:off x="6470494" y="4636616"/>
              <a:ext cx="1293919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Henrion et al., unpublished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89F1D379-8855-4329-BAF8-DD3027E62C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4142" y="3470757"/>
            <a:ext cx="954171" cy="7830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DCD78B-D541-41A1-8EE3-6E23BB88B0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9613" y="4085834"/>
            <a:ext cx="3960821" cy="10347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5B0F93-6E28-4496-88F5-6C8AA3D6E332}"/>
              </a:ext>
            </a:extLst>
          </p:cNvPr>
          <p:cNvSpPr txBox="1"/>
          <p:nvPr/>
        </p:nvSpPr>
        <p:spPr>
          <a:xfrm>
            <a:off x="7442859" y="4824144"/>
            <a:ext cx="1767858" cy="27409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600" dirty="0" err="1"/>
              <a:t>Esteva</a:t>
            </a:r>
            <a:r>
              <a:rPr lang="en-GB" sz="600" dirty="0"/>
              <a:t> et al. (2017), 10.1038/nature21056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C5CABB6-5575-451F-8DB5-7A9AB9255AFA}"/>
              </a:ext>
            </a:extLst>
          </p:cNvPr>
          <p:cNvGrpSpPr/>
          <p:nvPr/>
        </p:nvGrpSpPr>
        <p:grpSpPr>
          <a:xfrm>
            <a:off x="5909063" y="2102689"/>
            <a:ext cx="1989703" cy="1212258"/>
            <a:chOff x="6698768" y="1277608"/>
            <a:chExt cx="1989703" cy="12122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8D5EF76-6553-4B82-AACB-2B2F08F0F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8768" y="1277608"/>
              <a:ext cx="1781998" cy="1042103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E557E52-C91E-4F44-B24E-B40BDEA43DD7}"/>
                </a:ext>
              </a:extLst>
            </p:cNvPr>
            <p:cNvSpPr txBox="1"/>
            <p:nvPr/>
          </p:nvSpPr>
          <p:spPr>
            <a:xfrm>
              <a:off x="6698768" y="2215775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 err="1"/>
                <a:t>Bre</a:t>
              </a:r>
              <a:r>
                <a:rPr lang="en-GB" sz="600" dirty="0"/>
                <a:t> et al. (2017), 10.1016/j.enbuild.2017.11.045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CC51495-72E8-4AAE-B012-74CB6918F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- algorith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BF64A6-52E1-4F8D-B8EC-AB2E9EC21E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914814"/>
            <a:ext cx="4038600" cy="367980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Statistical mod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Decision trees &amp; random fore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Support vector mach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Ensemble lear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4F4CBD-4E3B-4C1D-ABAB-2C8D98933F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893435"/>
            <a:ext cx="4038600" cy="370118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Neural networks</a:t>
            </a:r>
          </a:p>
          <a:p>
            <a:pPr marL="732526" lvl="1" indent="-342900"/>
            <a:r>
              <a:rPr lang="en-GB" sz="1600" dirty="0"/>
              <a:t>Artificial neuron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Multilayer </a:t>
            </a:r>
            <a:r>
              <a:rPr lang="en-GB" sz="1600" dirty="0" err="1"/>
              <a:t>perceptrons</a:t>
            </a:r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Self-organising maps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Deep learning</a:t>
            </a:r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endParaRPr lang="en-GB" sz="1800" dirty="0"/>
          </a:p>
          <a:p>
            <a:pPr marL="732526" lvl="1" indent="-342900"/>
            <a:endParaRPr lang="en-GB" sz="1600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835E9C4-ED56-4EDE-A7D3-564DD6D74AA6}"/>
              </a:ext>
            </a:extLst>
          </p:cNvPr>
          <p:cNvGrpSpPr/>
          <p:nvPr/>
        </p:nvGrpSpPr>
        <p:grpSpPr>
          <a:xfrm>
            <a:off x="6659327" y="1175298"/>
            <a:ext cx="1989703" cy="727932"/>
            <a:chOff x="5275866" y="1517135"/>
            <a:chExt cx="1989703" cy="72793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A842674-895C-4741-BDA0-993393890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6013" y="1517135"/>
              <a:ext cx="1497682" cy="50927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D308990-9468-417E-9EE6-673E6ED8467F}"/>
                </a:ext>
              </a:extLst>
            </p:cNvPr>
            <p:cNvSpPr txBox="1"/>
            <p:nvPr/>
          </p:nvSpPr>
          <p:spPr>
            <a:xfrm>
              <a:off x="5275866" y="1970976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Mitchell, T.M. (1997), Machine Learning, McGraw-Hill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347092-5401-45DD-817C-243829BC44DA}"/>
              </a:ext>
            </a:extLst>
          </p:cNvPr>
          <p:cNvGrpSpPr/>
          <p:nvPr/>
        </p:nvGrpSpPr>
        <p:grpSpPr>
          <a:xfrm>
            <a:off x="2623785" y="2153801"/>
            <a:ext cx="2048009" cy="1201834"/>
            <a:chOff x="2623785" y="2462138"/>
            <a:chExt cx="2048009" cy="120183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7EEE63F-4482-4177-90D5-112E83A456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23785" y="2462138"/>
              <a:ext cx="1848423" cy="101879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3309F57-8489-4239-BF76-839D896D9B83}"/>
                </a:ext>
              </a:extLst>
            </p:cNvPr>
            <p:cNvSpPr txBox="1"/>
            <p:nvPr/>
          </p:nvSpPr>
          <p:spPr>
            <a:xfrm>
              <a:off x="3385888" y="3389881"/>
              <a:ext cx="1285906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globalsoftwaresupport.com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1BC71E1-B33B-416A-ADBE-8A5E0DFF39A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129" y="2163459"/>
            <a:ext cx="1362027" cy="89070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6F80F65-AFD8-4731-BA4B-A2202ED14577}"/>
              </a:ext>
            </a:extLst>
          </p:cNvPr>
          <p:cNvSpPr txBox="1"/>
          <p:nvPr/>
        </p:nvSpPr>
        <p:spPr>
          <a:xfrm>
            <a:off x="568662" y="2937931"/>
            <a:ext cx="2241358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Van den </a:t>
            </a:r>
            <a:r>
              <a:rPr lang="en-GB" sz="600" dirty="0" err="1"/>
              <a:t>Eijkel</a:t>
            </a:r>
            <a:r>
              <a:rPr lang="en-GB" sz="600" dirty="0"/>
              <a:t>, G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F533B1E-475A-432D-9E55-FE1A184BAEA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9080" y="1237876"/>
            <a:ext cx="2307769" cy="60252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771AC20-C01C-4845-82F8-6637350A8DE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77952" y="2848157"/>
            <a:ext cx="1270303" cy="114839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91B8C9F-12F8-4679-9208-D9FB8A837409}"/>
              </a:ext>
            </a:extLst>
          </p:cNvPr>
          <p:cNvSpPr txBox="1"/>
          <p:nvPr/>
        </p:nvSpPr>
        <p:spPr>
          <a:xfrm>
            <a:off x="6067221" y="3533467"/>
            <a:ext cx="1912400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 err="1"/>
              <a:t>Silipo</a:t>
            </a:r>
            <a:r>
              <a:rPr lang="en-GB" sz="600" dirty="0"/>
              <a:t>, R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994518-D175-4356-9BE9-99C45D500B47}"/>
              </a:ext>
            </a:extLst>
          </p:cNvPr>
          <p:cNvSpPr txBox="1"/>
          <p:nvPr/>
        </p:nvSpPr>
        <p:spPr>
          <a:xfrm>
            <a:off x="1522126" y="3874558"/>
            <a:ext cx="153125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Bishop, C. (2007), Pattern Recognition and Machine Learning, Springer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2E21280-8DAC-4458-B7BE-E174B6F6CE61}"/>
              </a:ext>
            </a:extLst>
          </p:cNvPr>
          <p:cNvSpPr/>
          <p:nvPr/>
        </p:nvSpPr>
        <p:spPr>
          <a:xfrm>
            <a:off x="494970" y="748622"/>
            <a:ext cx="2749914" cy="1097227"/>
          </a:xfrm>
          <a:prstGeom prst="ellipse">
            <a:avLst/>
          </a:prstGeom>
          <a:noFill/>
          <a:ln w="25400">
            <a:solidFill>
              <a:srgbClr val="92D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3927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b="0" dirty="0"/>
              <a:t>A lot of ML algorithms developed outside the context of statistical science.</a:t>
            </a:r>
          </a:p>
          <a:p>
            <a:r>
              <a:rPr lang="en-GB" sz="1800" b="0" dirty="0"/>
              <a:t>Many are heuristics – i.e. practical, not necessarily optimal.</a:t>
            </a:r>
          </a:p>
          <a:p>
            <a:endParaRPr lang="en-GB" sz="1800" b="0" dirty="0"/>
          </a:p>
          <a:p>
            <a:r>
              <a:rPr lang="en-GB" sz="1800" b="0" dirty="0"/>
              <a:t>Statisticians interested in knowing asymptotic properties of methods:</a:t>
            </a:r>
          </a:p>
          <a:p>
            <a:pPr marL="675376" lvl="1" indent="-285750"/>
            <a:r>
              <a:rPr lang="en-GB" sz="1500" dirty="0"/>
              <a:t>G</a:t>
            </a:r>
            <a:r>
              <a:rPr lang="en-GB" sz="1500" b="0" dirty="0"/>
              <a:t>iven infinite amounts of data, are you actually going to get the right solution?</a:t>
            </a:r>
          </a:p>
          <a:p>
            <a:pPr marL="675376" lvl="1" indent="-285750"/>
            <a:r>
              <a:rPr lang="en-GB" sz="1500" b="0" dirty="0"/>
              <a:t>If not, by how far are you off?</a:t>
            </a:r>
          </a:p>
          <a:p>
            <a:pPr marL="675376" lvl="1" indent="-285750"/>
            <a:r>
              <a:rPr lang="en-GB" sz="1500" b="0" dirty="0"/>
              <a:t>How precise will your estimate be?</a:t>
            </a:r>
            <a:endParaRPr lang="en-GB" sz="1800" b="0" dirty="0"/>
          </a:p>
          <a:p>
            <a:endParaRPr lang="en-GB" sz="1800" b="0" dirty="0"/>
          </a:p>
          <a:p>
            <a:r>
              <a:rPr lang="en-GB" sz="1800" b="0" dirty="0"/>
              <a:t>Estimated parameters have statistical properties: bias, variance, …</a:t>
            </a:r>
          </a:p>
          <a:p>
            <a:endParaRPr lang="en-GB" sz="1800" b="0" dirty="0"/>
          </a:p>
          <a:p>
            <a:r>
              <a:rPr lang="en-GB" sz="1800" b="0" dirty="0"/>
              <a:t>Much (most?) of statistics is about minimising the </a:t>
            </a:r>
            <a:r>
              <a:rPr lang="en-GB" sz="1800" dirty="0"/>
              <a:t>bias-variance trade-off</a:t>
            </a:r>
            <a:r>
              <a:rPr lang="en-GB" sz="1800" b="0" dirty="0"/>
              <a:t>.</a:t>
            </a:r>
          </a:p>
          <a:p>
            <a:endParaRPr lang="en-GB" sz="1800" b="0" dirty="0"/>
          </a:p>
          <a:p>
            <a:endParaRPr lang="en-GB" sz="1800" b="0" dirty="0"/>
          </a:p>
          <a:p>
            <a:r>
              <a:rPr lang="en-GB" sz="1800" b="0" dirty="0"/>
              <a:t>In other words:</a:t>
            </a:r>
          </a:p>
          <a:p>
            <a:r>
              <a:rPr lang="en-GB" sz="1800" b="0" dirty="0"/>
              <a:t>While an algorithm may work on a particular dataset, will it work in general with any dataset?</a:t>
            </a:r>
          </a:p>
          <a:p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41456350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bias-variance trade-off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72B118-FAC7-47EB-ACA8-48545BAA28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0313" y="745647"/>
            <a:ext cx="5223373" cy="402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5593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bias-variance trade-off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/>
            <p:txBody>
              <a:bodyPr/>
              <a:lstStyle/>
              <a:p>
                <a:r>
                  <a:rPr lang="en-GB" sz="1800" b="0" dirty="0"/>
                  <a:t>Mathematically:</a:t>
                </a:r>
              </a:p>
              <a:p>
                <a:endParaRPr lang="en-GB" sz="1800" b="0" dirty="0"/>
              </a:p>
              <a:p>
                <a:r>
                  <a:rPr lang="en-GB" sz="1800" b="0" dirty="0"/>
                  <a:t>Assume 2 random variables, X &amp; Y, are related via the relationship:</a:t>
                </a:r>
              </a:p>
              <a:p>
                <a:pPr algn="ctr"/>
                <a:r>
                  <a:rPr lang="en-GB" sz="1800" b="0" dirty="0"/>
                  <a:t>Y = f(X) + ε</a:t>
                </a:r>
              </a:p>
              <a:p>
                <a:r>
                  <a:rPr lang="en-GB" sz="1800" b="0" dirty="0"/>
                  <a:t>With ε some random error.</a:t>
                </a:r>
              </a:p>
              <a:p>
                <a:endParaRPr lang="en-GB" sz="1800" b="0" dirty="0"/>
              </a:p>
              <a:p>
                <a:r>
                  <a:rPr lang="en-GB" sz="1800" b="0" dirty="0"/>
                  <a:t>Estimate a model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</m:acc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acc>
                      <m:accPr>
                        <m:chr m:val="̂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</m:acc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</m:d>
                  </m:oMath>
                </a14:m>
                <a:r>
                  <a:rPr lang="en-GB" sz="1800" b="0" dirty="0"/>
                  <a:t>.</a:t>
                </a:r>
              </a:p>
              <a:p>
                <a:r>
                  <a:rPr lang="en-GB" sz="1800" b="0" dirty="0"/>
                  <a:t>Then </a:t>
                </a:r>
                <a:endParaRPr lang="en-GB" sz="1800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𝑌</m:t>
                                  </m:r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̂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</m:acc>
                                </m:e>
                              </m:d>
                            </m:e>
                            <m:sup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</m:acc>
                                </m:e>
                              </m:d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e>
                          </m:d>
                        </m:e>
                        <m:sup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</m:acc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en-GB" sz="18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en-GB" sz="18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GB" sz="1800" b="0" i="1" smtClean="0">
                                              <a:latin typeface="Cambria Math" panose="02040503050406030204" pitchFamily="18" charset="0"/>
                                            </a:rPr>
                                            <m:t>𝑌</m:t>
                                          </m:r>
                                        </m:e>
                                      </m:acc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sub>
                        <m:sup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GB" sz="1800" b="0" dirty="0"/>
              </a:p>
              <a:p>
                <a:r>
                  <a:rPr lang="en-GB" sz="1800" dirty="0"/>
                  <a:t>                                    error  =       bias</a:t>
                </a:r>
                <a:r>
                  <a:rPr lang="en-GB" sz="1800" baseline="30000" dirty="0"/>
                  <a:t>2</a:t>
                </a:r>
                <a:r>
                  <a:rPr lang="en-GB" sz="1800" dirty="0"/>
                  <a:t>     +      variance      +  irreducible error</a:t>
                </a:r>
              </a:p>
              <a:p>
                <a:endParaRPr lang="en-GB" sz="1800" b="0" dirty="0"/>
              </a:p>
              <a:p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blipFill>
                <a:blip r:embed="rId3"/>
                <a:stretch>
                  <a:fillRect l="-1689" t="-2305" r="-1028" b="-124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69000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– bias-variance trade-off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A1E8F9-DEA4-4928-8159-A860353333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735" y="892218"/>
            <a:ext cx="6888530" cy="399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5186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GB" b="0" dirty="0"/>
              <a:t>Sum of squares is the most common error function because it leads to a  convex optimisation problem.</a:t>
            </a:r>
          </a:p>
          <a:p>
            <a:pPr>
              <a:spcBef>
                <a:spcPts val="0"/>
              </a:spcBef>
            </a:pPr>
            <a:endParaRPr lang="en-GB" sz="1200" b="0" dirty="0"/>
          </a:p>
          <a:p>
            <a:pPr>
              <a:spcBef>
                <a:spcPts val="0"/>
              </a:spcBef>
            </a:pPr>
            <a:r>
              <a:rPr lang="en-GB" b="0" dirty="0"/>
              <a:t>Statisticians tend not to optimise the sum of squared errors (</a:t>
            </a:r>
            <a:r>
              <a:rPr lang="en-GB" dirty="0"/>
              <a:t>least squares</a:t>
            </a:r>
            <a:r>
              <a:rPr lang="en-GB" b="0" dirty="0"/>
              <a:t>  - LS), but rather maximise the likelihood (</a:t>
            </a:r>
            <a:r>
              <a:rPr lang="en-GB" dirty="0"/>
              <a:t>maximum likelihood</a:t>
            </a:r>
            <a:r>
              <a:rPr lang="en-GB" b="0" dirty="0"/>
              <a:t> - ML) of observing a given dataset assuming a given model. This is a more general approach, though it does make additional assumptions.</a:t>
            </a:r>
          </a:p>
          <a:p>
            <a:pPr>
              <a:spcBef>
                <a:spcPts val="0"/>
              </a:spcBef>
            </a:pPr>
            <a:endParaRPr lang="en-GB" sz="1200" b="0" dirty="0"/>
          </a:p>
          <a:p>
            <a:pPr>
              <a:spcBef>
                <a:spcPts val="0"/>
              </a:spcBef>
            </a:pPr>
            <a:r>
              <a:rPr lang="en-GB" b="0" dirty="0"/>
              <a:t>For many models, ML &amp; LS are equivalent, for some they are not (e.g. non-normal errors in linear model).</a:t>
            </a:r>
          </a:p>
          <a:p>
            <a:pPr>
              <a:spcBef>
                <a:spcPts val="0"/>
              </a:spcBef>
            </a:pPr>
            <a:endParaRPr lang="en-GB" sz="1200" b="0" dirty="0"/>
          </a:p>
          <a:p>
            <a:pPr>
              <a:spcBef>
                <a:spcPts val="0"/>
              </a:spcBef>
            </a:pPr>
            <a:r>
              <a:rPr lang="en-GB" b="0" dirty="0"/>
              <a:t>In machine learning, usually </a:t>
            </a:r>
            <a:r>
              <a:rPr lang="en-GB" dirty="0"/>
              <a:t>predictive accuracy</a:t>
            </a:r>
            <a:r>
              <a:rPr lang="en-GB" b="0" dirty="0"/>
              <a:t> is optimised (using, e.g. cross-validation).</a:t>
            </a:r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2042275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299"/>
            <a:ext cx="8301046" cy="3601603"/>
          </a:xfrm>
        </p:spPr>
        <p:txBody>
          <a:bodyPr/>
          <a:lstStyle/>
          <a:p>
            <a:endParaRPr lang="en-GB" b="0" dirty="0"/>
          </a:p>
          <a:p>
            <a:r>
              <a:rPr lang="en-GB" b="0" dirty="0"/>
              <a:t>Arguably better to maximise predictive accuracy:</a:t>
            </a:r>
          </a:p>
          <a:p>
            <a:r>
              <a:rPr lang="en-GB" b="0" dirty="0"/>
              <a:t>Consider not only how well a model fits the current dataset, but also how well it will perform on future data.</a:t>
            </a:r>
          </a:p>
          <a:p>
            <a:endParaRPr lang="en-GB" b="0" dirty="0"/>
          </a:p>
          <a:p>
            <a:r>
              <a:rPr lang="en-GB" b="0" dirty="0"/>
              <a:t>But this comes at a cost:</a:t>
            </a:r>
          </a:p>
          <a:p>
            <a:r>
              <a:rPr lang="en-GB" b="0" dirty="0"/>
              <a:t>Not all the data is used to estimate the model parameters.</a:t>
            </a:r>
          </a:p>
          <a:p>
            <a:endParaRPr lang="en-GB" b="0" dirty="0"/>
          </a:p>
          <a:p>
            <a:r>
              <a:rPr lang="en-GB" b="0" dirty="0"/>
              <a:t>What should the focus be: </a:t>
            </a:r>
            <a:r>
              <a:rPr lang="en-GB" b="0" u="sng" dirty="0"/>
              <a:t>inference or prediction</a:t>
            </a:r>
            <a:r>
              <a:rPr lang="en-GB" b="0" dirty="0"/>
              <a:t>?</a:t>
            </a:r>
          </a:p>
          <a:p>
            <a:endParaRPr lang="en-GB" b="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6921274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al decision theor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299"/>
                <a:ext cx="8301046" cy="3601603"/>
              </a:xfrm>
            </p:spPr>
            <p:txBody>
              <a:bodyPr/>
              <a:lstStyle/>
              <a:p>
                <a:r>
                  <a:rPr lang="en-GB" b="0" dirty="0"/>
                  <a:t>For classification problems with a zero-one loss function (i.e. all misclassifications equally bad), one can show that the optimal classification rule is</a:t>
                </a:r>
              </a:p>
              <a:p>
                <a:r>
                  <a:rPr lang="en-GB" b="0" dirty="0"/>
                  <a:t>	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</m:acc>
                    <m:d>
                      <m:d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𝑎𝑟𝑔𝑚𝑎𝑥</m:t>
                        </m:r>
                      </m:e>
                      <m:sub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𝐺</m:t>
                        </m:r>
                      </m:sub>
                    </m:sSub>
                    <m:r>
                      <a:rPr lang="en-GB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e>
                        <m:bar>
                          <m:barPr>
                            <m:ctrlPr>
                              <a:rPr lang="en-GB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</m:oMath>
                </a14:m>
                <a:endParaRPr lang="en-GB" b="0" dirty="0"/>
              </a:p>
              <a:p>
                <a:endParaRPr lang="en-GB" b="0" dirty="0"/>
              </a:p>
              <a:p>
                <a:r>
                  <a:rPr lang="en-GB" b="0" dirty="0"/>
                  <a:t>This is known as the </a:t>
                </a:r>
                <a:r>
                  <a:rPr lang="en-GB" b="0" u="sng" dirty="0"/>
                  <a:t>Bayes classifier</a:t>
                </a:r>
                <a:r>
                  <a:rPr lang="en-GB" b="0" dirty="0"/>
                  <a:t> and its error rate (the Bayes rate) is the lowest you can achieve.</a:t>
                </a:r>
              </a:p>
              <a:p>
                <a:endParaRPr lang="en-GB" b="0" dirty="0"/>
              </a:p>
              <a:p>
                <a:r>
                  <a:rPr lang="en-GB" b="0" dirty="0"/>
                  <a:t>The practical problem is how to estimate the probabilities </a:t>
                </a:r>
                <a14:m>
                  <m:oMath xmlns:m="http://schemas.openxmlformats.org/officeDocument/2006/math">
                    <m:r>
                      <a:rPr lang="en-GB" b="0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GB" b="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b="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e>
                        <m:bar>
                          <m:barPr>
                            <m:ctrlPr>
                              <a:rPr lang="en-GB" b="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b="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</m:oMath>
                </a14:m>
                <a:r>
                  <a:rPr lang="en-GB" b="0" dirty="0"/>
                  <a:t>.</a:t>
                </a:r>
              </a:p>
              <a:p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299"/>
                <a:ext cx="8301046" cy="3601603"/>
              </a:xfrm>
              <a:blipFill>
                <a:blip r:embed="rId3"/>
                <a:stretch>
                  <a:fillRect l="-1836" t="-2034" r="-139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74156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400" dirty="0"/>
              <a:t>Slides &amp; R code: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800" b="0" dirty="0">
                <a:hlinkClick r:id="rId3"/>
              </a:rPr>
              <a:t>https://github.com/gitMarcH/IndabaX_2021</a:t>
            </a: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9916175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overly broad generalisation…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400" dirty="0"/>
              <a:t>Statistics</a:t>
            </a:r>
          </a:p>
          <a:p>
            <a:r>
              <a:rPr lang="en-GB" b="0" dirty="0"/>
              <a:t>Focus on </a:t>
            </a:r>
            <a:r>
              <a:rPr lang="en-GB" b="0" u="sng" dirty="0"/>
              <a:t>statistical inference</a:t>
            </a:r>
            <a:r>
              <a:rPr lang="en-GB" b="0" dirty="0"/>
              <a:t> about model parameters.</a:t>
            </a:r>
          </a:p>
          <a:p>
            <a:pPr marL="732526" lvl="1" indent="-342900"/>
            <a:r>
              <a:rPr lang="en-GB" sz="1600" dirty="0"/>
              <a:t>D</a:t>
            </a:r>
            <a:r>
              <a:rPr lang="en-GB" sz="1600" b="0" dirty="0"/>
              <a:t>o these 2 groups have different mean values?</a:t>
            </a:r>
          </a:p>
          <a:p>
            <a:pPr marL="732526" lvl="1" indent="-342900"/>
            <a:r>
              <a:rPr lang="en-GB" sz="1600" dirty="0"/>
              <a:t>Is this slope coefficient different from 0?</a:t>
            </a:r>
          </a:p>
          <a:p>
            <a:endParaRPr lang="en-GB" sz="1200" b="0" dirty="0"/>
          </a:p>
          <a:p>
            <a:r>
              <a:rPr lang="en-GB" sz="2400" dirty="0"/>
              <a:t>Machine learning</a:t>
            </a:r>
          </a:p>
          <a:p>
            <a:r>
              <a:rPr lang="en-GB" b="0" dirty="0"/>
              <a:t>Focus on </a:t>
            </a:r>
            <a:r>
              <a:rPr lang="en-GB" b="0" u="sng" dirty="0"/>
              <a:t>prediction</a:t>
            </a:r>
            <a:r>
              <a:rPr lang="en-GB" b="0" dirty="0"/>
              <a:t>.</a:t>
            </a:r>
          </a:p>
          <a:p>
            <a:pPr marL="732526" lvl="1" indent="-342900"/>
            <a:r>
              <a:rPr lang="en-GB" sz="1600" dirty="0"/>
              <a:t>W</a:t>
            </a:r>
            <a:r>
              <a:rPr lang="en-GB" sz="1600" b="0" dirty="0"/>
              <a:t>hat is most likely type of an object, given an image of it?</a:t>
            </a:r>
          </a:p>
          <a:p>
            <a:pPr marL="732526" lvl="1" indent="-342900"/>
            <a:r>
              <a:rPr lang="en-GB" sz="1600" dirty="0"/>
              <a:t>What is the most likely successful advert to display to a user?</a:t>
            </a:r>
            <a:endParaRPr lang="en-GB" sz="1600" b="0" dirty="0"/>
          </a:p>
          <a:p>
            <a:endParaRPr lang="en-GB" b="0" dirty="0"/>
          </a:p>
          <a:p>
            <a:endParaRPr lang="en-GB" b="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15636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overly broad generalisation…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952EC4-457B-4D8F-83C9-2FBA75A7EB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9765" y="1754235"/>
            <a:ext cx="2204647" cy="729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129896C-6F09-41C3-AA79-3B56168015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030" y="1043262"/>
            <a:ext cx="5716932" cy="34425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5ADA11-ED42-4EAA-97E6-E7AF1BE817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8314" y="2917852"/>
            <a:ext cx="2123024" cy="873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2388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asoning under uncertaint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>
              <a:spcBef>
                <a:spcPts val="3000"/>
              </a:spcBef>
            </a:pPr>
            <a:endParaRPr lang="en-US" sz="800" dirty="0"/>
          </a:p>
          <a:p>
            <a:pPr lvl="0">
              <a:spcBef>
                <a:spcPts val="1000"/>
              </a:spcBef>
            </a:pPr>
            <a:r>
              <a:rPr lang="en-US" sz="1800" dirty="0"/>
              <a:t>PROBABILITY</a:t>
            </a:r>
          </a:p>
          <a:p>
            <a:pPr lvl="0"/>
            <a:r>
              <a:rPr lang="en-US" sz="1800" b="0" dirty="0"/>
              <a:t>To quantify uncertainty we need to use the tools of</a:t>
            </a:r>
            <a:r>
              <a:rPr lang="en-US" sz="1800" dirty="0"/>
              <a:t> probability theory</a:t>
            </a:r>
            <a:r>
              <a:rPr lang="en-US" sz="1800" b="0" dirty="0"/>
              <a:t>.</a:t>
            </a:r>
          </a:p>
          <a:p>
            <a:pPr lvl="0">
              <a:spcBef>
                <a:spcPts val="3000"/>
              </a:spcBef>
            </a:pPr>
            <a:r>
              <a:rPr lang="en-US" sz="1800" dirty="0"/>
              <a:t>STATISTICS</a:t>
            </a:r>
          </a:p>
          <a:p>
            <a:pPr lvl="0"/>
            <a:r>
              <a:rPr lang="en-US" sz="1800" b="0" dirty="0"/>
              <a:t>To gain insights from observational data we need to make </a:t>
            </a:r>
            <a:r>
              <a:rPr lang="en-US" sz="1800" dirty="0"/>
              <a:t>statistical inference.</a:t>
            </a:r>
          </a:p>
          <a:p>
            <a:endParaRPr lang="en-GB" sz="1800" b="0" dirty="0"/>
          </a:p>
          <a:p>
            <a:r>
              <a:rPr lang="en-GB" sz="1800" dirty="0"/>
              <a:t>MACHINE LEARNING</a:t>
            </a:r>
          </a:p>
          <a:p>
            <a:r>
              <a:rPr lang="en-GB" sz="1800" b="0" dirty="0"/>
              <a:t>Use mathematical, statistical &amp; computational tools to make </a:t>
            </a:r>
            <a:r>
              <a:rPr lang="en-GB" sz="1800" dirty="0"/>
              <a:t>predictions</a:t>
            </a:r>
            <a:r>
              <a:rPr lang="en-GB" sz="1800" b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690695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stics &amp; machine lear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b="0" dirty="0"/>
              <a:t>Apart from machine learning being based on statistical principles, statistics also plays a role in:</a:t>
            </a:r>
          </a:p>
          <a:p>
            <a:endParaRPr lang="en-GB" sz="1800" b="0" dirty="0"/>
          </a:p>
          <a:p>
            <a:pPr marL="675376" lvl="1" indent="-285750"/>
            <a:r>
              <a:rPr lang="en-GB" sz="1800" b="0" dirty="0"/>
              <a:t>Preparing / cleaning data</a:t>
            </a:r>
          </a:p>
          <a:p>
            <a:pPr marL="675376" lvl="1" indent="-285750"/>
            <a:r>
              <a:rPr lang="en-GB" sz="1800" b="0" dirty="0"/>
              <a:t>Algorithm / model selection</a:t>
            </a:r>
          </a:p>
          <a:p>
            <a:pPr marL="675376" lvl="1" indent="-285750"/>
            <a:r>
              <a:rPr lang="en-GB" sz="1800" b="0" dirty="0"/>
              <a:t>Evaluating algorithm / model performance</a:t>
            </a:r>
          </a:p>
          <a:p>
            <a:pPr marL="675376" lvl="1" indent="-285750"/>
            <a:r>
              <a:rPr lang="en-GB" sz="1800" b="0" dirty="0"/>
              <a:t>Deriving properties of estimated parameters (e.g. confidence intervals)</a:t>
            </a:r>
          </a:p>
          <a:p>
            <a:pPr marL="675376" lvl="1" indent="-285750"/>
            <a:r>
              <a:rPr lang="en-GB" sz="1800" b="0" dirty="0"/>
              <a:t>…</a:t>
            </a:r>
          </a:p>
          <a:p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8494285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Terminology / history</a:t>
            </a:r>
          </a:p>
        </p:txBody>
      </p:sp>
    </p:spTree>
    <p:extLst>
      <p:ext uri="{BB962C8B-B14F-4D97-AF65-F5344CB8AC3E}">
        <p14:creationId xmlns:p14="http://schemas.microsoft.com/office/powerpoint/2010/main" val="35571639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66FFF-C9A8-4296-B40C-DE53895CA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241109-BE6E-4606-9E26-F0CE8D2D920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r"/>
            <a:endParaRPr lang="en-GB" dirty="0"/>
          </a:p>
          <a:p>
            <a:pPr algn="r"/>
            <a:r>
              <a:rPr lang="en-GB" dirty="0"/>
              <a:t>Mathematics 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  <a:p>
            <a:pPr algn="r"/>
            <a:endParaRPr lang="en-GB" dirty="0"/>
          </a:p>
          <a:p>
            <a:pPr algn="r"/>
            <a:r>
              <a:rPr lang="en-GB" dirty="0"/>
              <a:t>Computer science 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  <a:p>
            <a:pPr algn="r"/>
            <a:endParaRPr lang="en-GB" dirty="0"/>
          </a:p>
          <a:p>
            <a:pPr algn="r"/>
            <a:r>
              <a:rPr lang="en-GB" dirty="0"/>
              <a:t>Engineering 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2D7CA9-442E-4A1E-9AB2-381BEB1B713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 dirty="0"/>
          </a:p>
          <a:p>
            <a:r>
              <a:rPr lang="en-GB" dirty="0"/>
              <a:t>Statistics</a:t>
            </a:r>
          </a:p>
          <a:p>
            <a:endParaRPr lang="en-GB" dirty="0"/>
          </a:p>
          <a:p>
            <a:r>
              <a:rPr lang="en-GB" dirty="0"/>
              <a:t>Machine learning</a:t>
            </a:r>
          </a:p>
          <a:p>
            <a:endParaRPr lang="en-GB" dirty="0"/>
          </a:p>
          <a:p>
            <a:r>
              <a:rPr lang="en-GB" dirty="0"/>
              <a:t>Pattern recognition</a:t>
            </a:r>
          </a:p>
        </p:txBody>
      </p:sp>
    </p:spTree>
    <p:extLst>
      <p:ext uri="{BB962C8B-B14F-4D97-AF65-F5344CB8AC3E}">
        <p14:creationId xmlns:p14="http://schemas.microsoft.com/office/powerpoint/2010/main" val="29969775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E3664-0FAA-4469-A5F3-33E1538AC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quivalent terminology &amp;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29090B-0A1B-4ECF-911E-222BF3586E9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r"/>
            <a:r>
              <a:rPr lang="en-GB" dirty="0"/>
              <a:t>Statistics </a:t>
            </a:r>
            <a:r>
              <a:rPr lang="en-GB" sz="2000" b="0" dirty="0"/>
              <a:t>  ↔</a:t>
            </a:r>
            <a:endParaRPr lang="en-GB" b="0" dirty="0"/>
          </a:p>
          <a:p>
            <a:pPr algn="r"/>
            <a:endParaRPr lang="en-GB" sz="2000" b="0" dirty="0"/>
          </a:p>
          <a:p>
            <a:pPr algn="r"/>
            <a:r>
              <a:rPr lang="en-GB" sz="2000" b="0" dirty="0"/>
              <a:t>models    ↔</a:t>
            </a:r>
          </a:p>
          <a:p>
            <a:pPr algn="r"/>
            <a:r>
              <a:rPr lang="en-GB" sz="2000" b="0" dirty="0"/>
              <a:t>parameters   ↔</a:t>
            </a:r>
          </a:p>
          <a:p>
            <a:pPr algn="r"/>
            <a:r>
              <a:rPr lang="en-GB" sz="2000" b="0" dirty="0"/>
              <a:t>fitting / estimating   ↔</a:t>
            </a:r>
          </a:p>
          <a:p>
            <a:pPr algn="r"/>
            <a:r>
              <a:rPr lang="en-GB" sz="2000" b="0" dirty="0"/>
              <a:t>test set performance   ↔</a:t>
            </a:r>
          </a:p>
          <a:p>
            <a:pPr algn="r"/>
            <a:endParaRPr lang="en-GB" sz="2000" b="0" dirty="0"/>
          </a:p>
          <a:p>
            <a:pPr algn="r"/>
            <a:endParaRPr lang="en-GB" sz="2000" b="0" dirty="0"/>
          </a:p>
          <a:p>
            <a:pPr algn="r"/>
            <a:r>
              <a:rPr lang="en-GB" sz="2000" b="0" dirty="0"/>
              <a:t>perceptron   ≈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4A5441-1BDF-436D-99E8-488D2D69F6B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GB" sz="2000" b="0" dirty="0"/>
              <a:t> </a:t>
            </a:r>
            <a:r>
              <a:rPr lang="en-GB" dirty="0"/>
              <a:t>Machine learning</a:t>
            </a:r>
          </a:p>
          <a:p>
            <a:endParaRPr lang="en-GB" sz="2000" b="0" dirty="0"/>
          </a:p>
          <a:p>
            <a:r>
              <a:rPr lang="en-GB" sz="2000" b="0" dirty="0"/>
              <a:t> networks, graphs</a:t>
            </a:r>
          </a:p>
          <a:p>
            <a:r>
              <a:rPr lang="en-GB" sz="2000" b="0" dirty="0"/>
              <a:t> weights</a:t>
            </a:r>
          </a:p>
          <a:p>
            <a:r>
              <a:rPr lang="en-GB" sz="2000" b="0" dirty="0"/>
              <a:t> learning</a:t>
            </a:r>
          </a:p>
          <a:p>
            <a:r>
              <a:rPr lang="en-GB" sz="2000" b="0" dirty="0"/>
              <a:t> generalisation</a:t>
            </a:r>
          </a:p>
          <a:p>
            <a:endParaRPr lang="en-GB" sz="2000" b="0" dirty="0"/>
          </a:p>
          <a:p>
            <a:endParaRPr lang="en-GB" sz="2000" b="0" dirty="0"/>
          </a:p>
          <a:p>
            <a:r>
              <a:rPr lang="en-GB" sz="2000" b="0" dirty="0"/>
              <a:t> logistic regression</a:t>
            </a:r>
          </a:p>
        </p:txBody>
      </p:sp>
    </p:spTree>
    <p:extLst>
      <p:ext uri="{BB962C8B-B14F-4D97-AF65-F5344CB8AC3E}">
        <p14:creationId xmlns:p14="http://schemas.microsoft.com/office/powerpoint/2010/main" val="28544757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12 key (statistical) techniques for data scientists</a:t>
            </a:r>
          </a:p>
        </p:txBody>
      </p:sp>
    </p:spTree>
    <p:extLst>
      <p:ext uri="{BB962C8B-B14F-4D97-AF65-F5344CB8AC3E}">
        <p14:creationId xmlns:p14="http://schemas.microsoft.com/office/powerpoint/2010/main" val="38390016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GLM: linear, log-linear, logistic, Poisson, …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Splines &amp; GAM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Regularisation: lasso, ridge, elastic net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Simple classification / clustering: k-nearest neighbour, k-mean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Kernel density estimation &amp; classification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Mixture models &amp; the EM algorithm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LDA, QDA, RDA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dirty="0"/>
              <a:t>Decision trees &amp; random forest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dirty="0"/>
              <a:t>Neural networks &amp; deep learning</a:t>
            </a:r>
            <a:endParaRPr lang="en-GB" sz="1800" b="0" dirty="0"/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Graphical model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PCA &amp; factor analysi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Bootstrap &amp; resampling techniques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7890145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lvl="0">
              <a:spcBef>
                <a:spcPts val="0"/>
              </a:spcBef>
            </a:pPr>
            <a:r>
              <a:rPr lang="en-GB" sz="1800" b="0" dirty="0"/>
              <a:t>Some example data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6D1419-0680-4886-B709-31DA3E1E9C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462" y="1590884"/>
            <a:ext cx="9109076" cy="3029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2706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ckgrou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Lead the Statistical Support Unit at ML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Raised in Luxembour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MSc in Mathematic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PhD in statistical pattern recognition for digital sky survey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/>
              <a:t>Post-docs in genetic epidemiology &amp; multi-scale modelling.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355731B-A585-4988-BFF6-842534CF992F}"/>
              </a:ext>
            </a:extLst>
          </p:cNvPr>
          <p:cNvGrpSpPr/>
          <p:nvPr/>
        </p:nvGrpSpPr>
        <p:grpSpPr>
          <a:xfrm>
            <a:off x="0" y="982835"/>
            <a:ext cx="9144000" cy="3819970"/>
            <a:chOff x="0" y="882359"/>
            <a:chExt cx="9144000" cy="381997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D8E1EBA3-A90E-4F5D-A097-228A9E767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882359"/>
              <a:ext cx="9144000" cy="381997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428CD828-B60F-4E29-80B2-81D88789B324}"/>
                </a:ext>
              </a:extLst>
            </p:cNvPr>
            <p:cNvGrpSpPr/>
            <p:nvPr/>
          </p:nvGrpSpPr>
          <p:grpSpPr>
            <a:xfrm>
              <a:off x="4884650" y="1177934"/>
              <a:ext cx="1702234" cy="529952"/>
              <a:chOff x="4884650" y="1177934"/>
              <a:chExt cx="1702234" cy="529952"/>
            </a:xfrm>
          </p:grpSpPr>
          <p:cxnSp>
            <p:nvCxnSpPr>
              <p:cNvPr id="18" name="Straight Arrow Connector 17">
                <a:extLst>
                  <a:ext uri="{FF2B5EF4-FFF2-40B4-BE49-F238E27FC236}">
                    <a16:creationId xmlns:a16="http://schemas.microsoft.com/office/drawing/2014/main" id="{91834914-4446-4B41-BC70-EF1D59B4F3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884650" y="1459900"/>
                <a:ext cx="752038" cy="247986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34577109-4C6B-48C3-BF3C-C8B4D9CB5B6E}"/>
                  </a:ext>
                </a:extLst>
              </p:cNvPr>
              <p:cNvSpPr txBox="1"/>
              <p:nvPr/>
            </p:nvSpPr>
            <p:spPr>
              <a:xfrm>
                <a:off x="5550826" y="1177934"/>
                <a:ext cx="1036058" cy="489534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pPr algn="ctr"/>
                <a:r>
                  <a:rPr lang="en-GB" sz="1000" b="1" dirty="0">
                    <a:solidFill>
                      <a:srgbClr val="79C900"/>
                    </a:solidFill>
                  </a:rPr>
                  <a:t>Raised in Luxembourg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759E03D-B352-4188-BEE0-5C89536B0959}"/>
                </a:ext>
              </a:extLst>
            </p:cNvPr>
            <p:cNvGrpSpPr/>
            <p:nvPr/>
          </p:nvGrpSpPr>
          <p:grpSpPr>
            <a:xfrm>
              <a:off x="2387435" y="2009416"/>
              <a:ext cx="1278572" cy="2272266"/>
              <a:chOff x="2387435" y="2009416"/>
              <a:chExt cx="1278572" cy="2272266"/>
            </a:xfrm>
          </p:grpSpPr>
          <p:cxnSp>
            <p:nvCxnSpPr>
              <p:cNvPr id="9" name="Straight Arrow Connector 8">
                <a:extLst>
                  <a:ext uri="{FF2B5EF4-FFF2-40B4-BE49-F238E27FC236}">
                    <a16:creationId xmlns:a16="http://schemas.microsoft.com/office/drawing/2014/main" id="{E2371A81-D68D-4178-B384-444C2ACDCB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684333" y="2009416"/>
                <a:ext cx="82414" cy="1067640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39A16585-C480-4A1D-B177-282DA35AF16D}"/>
                  </a:ext>
                </a:extLst>
              </p:cNvPr>
              <p:cNvSpPr txBox="1"/>
              <p:nvPr/>
            </p:nvSpPr>
            <p:spPr>
              <a:xfrm>
                <a:off x="2387435" y="3034279"/>
                <a:ext cx="1278572" cy="335646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r>
                  <a:rPr lang="en-GB" sz="1000" b="1" dirty="0">
                    <a:solidFill>
                      <a:srgbClr val="79C900"/>
                    </a:solidFill>
                  </a:rPr>
                  <a:t>Postdoc @ MSSM</a:t>
                </a: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315AF2D6-C28C-495B-BF9E-C8B3EF609F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473887" y="3305560"/>
                <a:ext cx="728476" cy="976122"/>
              </a:xfrm>
              <a:prstGeom prst="rect">
                <a:avLst/>
              </a:prstGeom>
            </p:spPr>
          </p:pic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65A22FA3-EB06-4FDB-8ABD-580D44BA6734}"/>
                </a:ext>
              </a:extLst>
            </p:cNvPr>
            <p:cNvGrpSpPr/>
            <p:nvPr/>
          </p:nvGrpSpPr>
          <p:grpSpPr>
            <a:xfrm>
              <a:off x="3388270" y="1683596"/>
              <a:ext cx="3353958" cy="1564282"/>
              <a:chOff x="3388270" y="1683596"/>
              <a:chExt cx="3353958" cy="1564282"/>
            </a:xfrm>
          </p:grpSpPr>
          <p:cxnSp>
            <p:nvCxnSpPr>
              <p:cNvPr id="13" name="Straight Arrow Connector 12">
                <a:extLst>
                  <a:ext uri="{FF2B5EF4-FFF2-40B4-BE49-F238E27FC236}">
                    <a16:creationId xmlns:a16="http://schemas.microsoft.com/office/drawing/2014/main" id="{48F1517A-9812-45C6-806E-C4F8259973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40309" y="1683596"/>
                <a:ext cx="376749" cy="639686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Arrow Connector 15">
                <a:extLst>
                  <a:ext uri="{FF2B5EF4-FFF2-40B4-BE49-F238E27FC236}">
                    <a16:creationId xmlns:a16="http://schemas.microsoft.com/office/drawing/2014/main" id="{6718DB3A-ED6F-4968-9ACF-998BEF7F75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328683" y="1835996"/>
                <a:ext cx="340775" cy="167443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518AF4F-494B-419A-929A-1AE29256ED07}"/>
                  </a:ext>
                </a:extLst>
              </p:cNvPr>
              <p:cNvSpPr txBox="1"/>
              <p:nvPr/>
            </p:nvSpPr>
            <p:spPr>
              <a:xfrm>
                <a:off x="3388270" y="2295480"/>
                <a:ext cx="3353958" cy="489534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r>
                  <a:rPr lang="en-GB" sz="1000" b="1" dirty="0" err="1">
                    <a:solidFill>
                      <a:srgbClr val="79C900"/>
                    </a:solidFill>
                  </a:rPr>
                  <a:t>MSci</a:t>
                </a:r>
                <a:r>
                  <a:rPr lang="en-GB" sz="1000" b="1" dirty="0">
                    <a:solidFill>
                      <a:srgbClr val="79C900"/>
                    </a:solidFill>
                  </a:rPr>
                  <a:t>, PhD @ Imperial College London &amp; ENS Lyon</a:t>
                </a:r>
              </a:p>
              <a:p>
                <a:r>
                  <a:rPr lang="en-GB" sz="1000" b="1" dirty="0">
                    <a:solidFill>
                      <a:srgbClr val="79C900"/>
                    </a:solidFill>
                  </a:rPr>
                  <a:t>Postdoc @ ICR</a:t>
                </a: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3A60D392-F45F-45EB-BC46-F919363D2F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428341" y="2559542"/>
                <a:ext cx="1208347" cy="333278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81BFF44A-D416-4BA9-A8CB-F961090CDA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804167" y="2547905"/>
                <a:ext cx="673781" cy="473251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D5ED3712-7491-494E-B345-13E836597B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434080" y="2959031"/>
                <a:ext cx="1323648" cy="288847"/>
              </a:xfrm>
              <a:prstGeom prst="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1DFDDB76-6734-4DFB-BB3C-BC540ED96EA4}"/>
                </a:ext>
              </a:extLst>
            </p:cNvPr>
            <p:cNvGrpSpPr/>
            <p:nvPr/>
          </p:nvGrpSpPr>
          <p:grpSpPr>
            <a:xfrm>
              <a:off x="5483936" y="3232812"/>
              <a:ext cx="2867323" cy="638766"/>
              <a:chOff x="5483936" y="3232812"/>
              <a:chExt cx="2867323" cy="638766"/>
            </a:xfrm>
          </p:grpSpPr>
          <p:cxnSp>
            <p:nvCxnSpPr>
              <p:cNvPr id="11" name="Straight Arrow Connector 10">
                <a:extLst>
                  <a:ext uri="{FF2B5EF4-FFF2-40B4-BE49-F238E27FC236}">
                    <a16:creationId xmlns:a16="http://schemas.microsoft.com/office/drawing/2014/main" id="{FF2074C6-8FA7-4B8E-A3DF-1F6EE6DBD0F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721215" y="3477579"/>
                <a:ext cx="675661" cy="22478"/>
              </a:xfrm>
              <a:prstGeom prst="straightConnector1">
                <a:avLst/>
              </a:prstGeom>
              <a:ln w="25400">
                <a:solidFill>
                  <a:srgbClr val="92D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00C43A3-312B-47FB-99D8-EABA6B8AB95F}"/>
                  </a:ext>
                </a:extLst>
              </p:cNvPr>
              <p:cNvSpPr txBox="1"/>
              <p:nvPr/>
            </p:nvSpPr>
            <p:spPr>
              <a:xfrm>
                <a:off x="6331747" y="3232812"/>
                <a:ext cx="1510918" cy="489534"/>
              </a:xfrm>
              <a:prstGeom prst="rect">
                <a:avLst/>
              </a:prstGeom>
              <a:noFill/>
            </p:spPr>
            <p:txBody>
              <a:bodyPr wrap="square" tIns="90000" bIns="90000" rtlCol="0" anchor="t">
                <a:spAutoFit/>
              </a:bodyPr>
              <a:lstStyle/>
              <a:p>
                <a:r>
                  <a:rPr lang="en-GB" sz="1000" b="1" dirty="0">
                    <a:solidFill>
                      <a:srgbClr val="79C900"/>
                    </a:solidFill>
                  </a:rPr>
                  <a:t>Lead Statistical Support Unit @ MLW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A447D410-E483-4CFF-A5D1-3342CAFC9C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483936" y="3653254"/>
                <a:ext cx="2867323" cy="218324"/>
              </a:xfrm>
              <a:prstGeom prst="rect">
                <a:avLst/>
              </a:prstGeom>
            </p:spPr>
          </p:pic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4A2FE9B2-2FD5-424E-A0F8-0E29B5C95C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94463" y="3974306"/>
            <a:ext cx="1384842" cy="11647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1C5D6D4-3FBA-4154-8DE9-11DDA07B28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3936" y="3978792"/>
            <a:ext cx="404448" cy="255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4804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lvl="0">
              <a:spcBef>
                <a:spcPts val="0"/>
              </a:spcBef>
            </a:pPr>
            <a:r>
              <a:rPr lang="en-GB" sz="1800" b="0" dirty="0"/>
              <a:t>Some example data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6D1419-0680-4886-B709-31DA3E1E9C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532" y="1593567"/>
            <a:ext cx="9092936" cy="3023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7013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/>
                </a:pPr>
                <a:r>
                  <a:rPr lang="en-GB" sz="1800" b="0" dirty="0"/>
                  <a:t>GLM: linear, log-linear, logistic, Poisson, …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Linear model</a:t>
                </a:r>
                <a:r>
                  <a:rPr lang="en-GB" sz="1800" b="0" dirty="0"/>
                  <a:t>:</a:t>
                </a:r>
              </a:p>
              <a:p>
                <a:pPr lvl="0" algn="ctr"/>
                <a14:m>
                  <m:oMath xmlns:m="http://schemas.openxmlformats.org/officeDocument/2006/math">
                    <m:r>
                      <a:rPr lang="ar-AE" sz="1800">
                        <a:latin typeface="Cambria Math" panose="02040503050406030204" pitchFamily="18" charset="0"/>
                      </a:rPr>
                      <m:t>𝑌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 b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ar-AE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GB" sz="1800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GB" sz="1800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+.. .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𝒩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(0,</m:t>
                    </m:r>
                    <m:sSup>
                      <m:sSup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p>
                        <m:r>
                          <a:rPr lang="ar-AE" sz="180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sz="180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GB" sz="1800" dirty="0"/>
              </a:p>
              <a:p>
                <a:pPr lvl="0" algn="ctr"/>
                <a:endParaRPr lang="en-GB" sz="1800" dirty="0"/>
              </a:p>
              <a:p>
                <a:pPr lvl="0"/>
                <a:r>
                  <a:rPr lang="en-GB" sz="1800" b="0" dirty="0"/>
                  <a:t>	</a:t>
                </a:r>
                <a:r>
                  <a:rPr lang="en-GB" sz="1800" b="0" u="sng" dirty="0"/>
                  <a:t>Generalised linear model (GLM)</a:t>
                </a:r>
              </a:p>
              <a:p>
                <a:pPr lvl="0"/>
                <a:r>
                  <a:rPr lang="en-GB" sz="1800" b="0" dirty="0"/>
                  <a:t>	   – includes logistic regression, Poisson regression, …</a:t>
                </a:r>
              </a:p>
              <a:p>
                <a:pPr lvl="0"/>
                <a:r>
                  <a:rPr lang="en-GB" sz="1800" b="0" dirty="0"/>
                  <a:t> </a:t>
                </a:r>
                <a:endParaRPr lang="ar-AE" sz="1800" b="0" dirty="0"/>
              </a:p>
              <a:p>
                <a:pPr algn="ctr">
                  <a:spcBef>
                    <a:spcPts val="0"/>
                  </a:spcBef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g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𝑌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 b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GB" sz="1800" b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GB" sz="1800" b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GB" sz="1800">
                        <a:latin typeface="Cambria Math" panose="02040503050406030204" pitchFamily="18" charset="0"/>
                      </a:rPr>
                      <m:t>+.. .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>
                        <a:latin typeface="Cambria Math" panose="02040503050406030204" pitchFamily="18" charset="0"/>
                      </a:rPr>
                      <m:t>  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F</m:t>
                    </m:r>
                  </m:oMath>
                </a14:m>
                <a:endParaRPr lang="en-GB" sz="1800" b="0" dirty="0"/>
              </a:p>
              <a:p>
                <a:pPr algn="ctr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  <a:blipFill>
                <a:blip r:embed="rId3"/>
                <a:stretch>
                  <a:fillRect t="-217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62022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800" b="0" dirty="0"/>
              <a:t>GLM: linear, log-linear, logistic, Poisson, …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6E4BDA-B637-524F-BB91-735825114D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06312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7861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2"/>
                </a:pPr>
                <a:r>
                  <a:rPr lang="en-GB" sz="1800" b="0" dirty="0"/>
                  <a:t>Splines &amp; GAM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Linear spline model</a:t>
                </a:r>
                <a:r>
                  <a:rPr lang="en-GB" sz="1800" b="0" dirty="0"/>
                  <a:t>:</a:t>
                </a:r>
              </a:p>
              <a:p>
                <a:pPr lvl="0" algn="ctr"/>
                <a14:m>
                  <m:oMath xmlns:m="http://schemas.openxmlformats.org/officeDocument/2006/math">
                    <m:r>
                      <a:rPr lang="ar-AE" sz="1800">
                        <a:latin typeface="Cambria Math" panose="02040503050406030204" pitchFamily="18" charset="0"/>
                      </a:rPr>
                      <m:t>𝑌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 b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X</m:t>
                    </m:r>
                    <m:r>
                      <a:rPr lang="en-GB" sz="1800" b="0" i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 b="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GB" sz="1800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en-GB" sz="1800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</m:d>
                      </m:e>
                      <m:sub>
                        <m:r>
                          <a:rPr lang="en-GB" sz="1800" b="1" i="1" smtClean="0">
                            <a:latin typeface="Cambria Math" panose="02040503050406030204" pitchFamily="18" charset="0"/>
                          </a:rPr>
                          <m:t>+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𝒩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(0,</m:t>
                    </m:r>
                    <m:sSup>
                      <m:sSup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p>
                        <m:r>
                          <a:rPr lang="ar-AE" sz="180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sz="180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GB" sz="1800" dirty="0"/>
              </a:p>
              <a:p>
                <a:pPr lvl="0"/>
                <a:r>
                  <a:rPr lang="en-GB" sz="1800" b="0" dirty="0"/>
                  <a:t>                          where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</m:d>
                      </m:e>
                      <m:sub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+</m:t>
                        </m:r>
                      </m:sub>
                    </m:sSub>
                    <m:r>
                      <a:rPr lang="en-GB" sz="1800" b="1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{"/>
                        <m:endChr m:val=""/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2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mPr>
                                <m:m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𝑖𝑓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&gt;</m:t>
                                    </m:r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</m:mr>
                              </m:m>
                            </m:e>
                          </m:mr>
                          <m:m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2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mPr>
                                <m:m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e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𝑜𝑡h𝑒𝑟𝑤𝑖𝑠𝑒</m:t>
                                    </m:r>
                                  </m:e>
                                </m:mr>
                              </m:m>
                            </m:e>
                          </m:mr>
                        </m:m>
                      </m:e>
                    </m:d>
                  </m:oMath>
                </a14:m>
                <a:endParaRPr lang="en-GB" sz="1800" dirty="0"/>
              </a:p>
              <a:p>
                <a:pPr lvl="0" algn="ctr"/>
                <a:endParaRPr lang="en-GB" sz="1800" dirty="0"/>
              </a:p>
              <a:p>
                <a:pPr lvl="0"/>
                <a:r>
                  <a:rPr lang="en-GB" sz="1800" b="0" dirty="0"/>
                  <a:t>	</a:t>
                </a:r>
                <a:r>
                  <a:rPr lang="en-GB" sz="1800" b="0" u="sng" dirty="0"/>
                  <a:t>Generalised additive model (GAM)</a:t>
                </a:r>
              </a:p>
              <a:p>
                <a:pPr lvl="0"/>
                <a:endParaRPr lang="ar-AE" sz="800" b="0" dirty="0"/>
              </a:p>
              <a:p>
                <a:pPr algn="ctr">
                  <a:spcBef>
                    <a:spcPts val="0"/>
                  </a:spcBef>
                </a:pPr>
                <a:r>
                  <a:rPr lang="en-GB" sz="1800" b="0" dirty="0"/>
                  <a:t>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g</m:t>
                    </m:r>
                    <m:d>
                      <m:dPr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</m:d>
                    <m:r>
                      <a:rPr lang="ar-A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180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180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d>
                      <m:dPr>
                        <m:ctrlPr>
                          <a:rPr lang="ar-AE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800" b="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lang="en-GB" sz="1800" b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d>
                      <m:dPr>
                        <m:ctrlPr>
                          <a:rPr lang="ar-AE" sz="1800" b="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800" b="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  <m:r>
                      <a:rPr lang="en-GB" sz="1800">
                        <a:latin typeface="Cambria Math" panose="02040503050406030204" pitchFamily="18" charset="0"/>
                      </a:rPr>
                      <m:t>+.. .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>
                        <a:latin typeface="Cambria Math" panose="02040503050406030204" pitchFamily="18" charset="0"/>
                      </a:rPr>
                      <m:t>  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  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      </m:t>
                    </m:r>
                    <m:r>
                      <a:rPr lang="en-GB" sz="1800" b="1" i="0" smtClean="0">
                        <a:latin typeface="Cambria Math" panose="02040503050406030204" pitchFamily="18" charset="0"/>
                      </a:rPr>
                      <m:t>    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GB" sz="1800">
                        <a:latin typeface="Cambria Math" panose="02040503050406030204" pitchFamily="18" charset="0"/>
                      </a:rPr>
                      <m:t>∼</m:t>
                    </m:r>
                    <m:r>
                      <m:rPr>
                        <m:sty m:val="p"/>
                      </m:rPr>
                      <a:rPr lang="en-GB" sz="1800" b="0" i="0" smtClean="0">
                        <a:latin typeface="Cambria Math" panose="02040503050406030204" pitchFamily="18" charset="0"/>
                      </a:rPr>
                      <m:t>F</m:t>
                    </m:r>
                  </m:oMath>
                </a14:m>
                <a:endParaRPr lang="en-GB" sz="1800" b="0" dirty="0"/>
              </a:p>
              <a:p>
                <a:pPr algn="ctr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  <a:blipFill>
                <a:blip r:embed="rId3"/>
                <a:stretch>
                  <a:fillRect t="-217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398920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2"/>
            </a:pPr>
            <a:r>
              <a:rPr lang="en-GB" sz="1800" b="0" dirty="0"/>
              <a:t>Splines &amp; GAM</a:t>
            </a:r>
          </a:p>
          <a:p>
            <a:pPr algn="ctr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86EE3E-CF39-B34C-B185-92BE98585D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1673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07072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3"/>
                </a:pPr>
                <a:r>
                  <a:rPr lang="en-GB" sz="1800" b="0" dirty="0"/>
                  <a:t>Regularisation / penalisation / shrinkage: ridge, lasso, elastic net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GLM – but with additional parameter constraints to shrink parameters. 	This controls variability and helps with variable selection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Ridge regression</a:t>
                </a:r>
                <a:r>
                  <a:rPr lang="en-GB" sz="1800" b="0" dirty="0"/>
                  <a:t> – L</a:t>
                </a:r>
                <a:r>
                  <a:rPr lang="en-GB" sz="1800" b="0" baseline="-25000" dirty="0"/>
                  <a:t>2</a:t>
                </a:r>
                <a:r>
                  <a:rPr lang="en-GB" sz="1800" b="0" dirty="0"/>
                  <a:t> norm: 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sSubSup>
                          <m:sSubSup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𝑗</m:t>
                            </m:r>
                          </m:sub>
                          <m:sup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nary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Coefficients are shrunk, but kept in the model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2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Lasso regression</a:t>
                </a:r>
                <a:r>
                  <a:rPr lang="en-GB" sz="1800" dirty="0"/>
                  <a:t> – L</a:t>
                </a:r>
                <a:r>
                  <a:rPr lang="en-GB" sz="1800" baseline="-25000" dirty="0"/>
                  <a:t>1</a:t>
                </a:r>
                <a:r>
                  <a:rPr lang="en-GB" sz="1800" dirty="0"/>
                  <a:t> norm: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d>
                          <m:dPr>
                            <m:begChr m:val="|"/>
                            <m:endChr m:val="|"/>
                            <m:ctrlPr>
                              <a:rPr lang="en-GB" sz="18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</m:e>
                        </m:d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:r>
                  <a:rPr lang="en-GB" sz="1800" dirty="0"/>
                  <a:t>Coefficients are shrunk, some to exactly 0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2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Elastic net</a:t>
                </a:r>
                <a:r>
                  <a:rPr lang="en-GB" sz="1800" dirty="0"/>
                  <a:t> – a compromise: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d>
                          <m:dPr>
                            <m:ctrlPr>
                              <a:rPr lang="en-GB" sz="18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𝛼</m:t>
                            </m:r>
                            <m:sSubSup>
                              <m:sSubSupPr>
                                <m:ctrlP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  <m:sup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+</m:t>
                            </m:r>
                            <m:d>
                              <m:d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</m:d>
                            <m:d>
                              <m:dPr>
                                <m:begChr m:val="|"/>
                                <m:endChr m:val="|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GB" sz="18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𝛽</m:t>
                                    </m:r>
                                  </m:e>
                                  <m:sub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d>
                          </m:e>
                        </m:d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301046" cy="3644772"/>
              </a:xfrm>
              <a:blipFill>
                <a:blip r:embed="rId3"/>
                <a:stretch>
                  <a:fillRect t="-2178" b="-1574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9260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3"/>
            </a:pPr>
            <a:r>
              <a:rPr lang="en-GB" sz="1800" b="0" dirty="0"/>
              <a:t>Regularisation / penalisation / shrinkage: ridge, lasso, elastic net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F168E2D-CE8C-42B7-9DE7-45F612245D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2232" y="1498728"/>
            <a:ext cx="5519535" cy="3605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58753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r>
                  <a:rPr lang="en-GB" sz="1800" b="0" dirty="0"/>
                  <a:t>Simple classification / clustering</a:t>
                </a:r>
                <a:r>
                  <a:rPr lang="en-GB" sz="1800" dirty="0"/>
                  <a:t>: k-nearest neighbour, k-means, …</a:t>
                </a:r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These are prototype, memory-based, model-free methods.</a:t>
                </a:r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endParaRPr lang="en-GB" sz="1800" dirty="0"/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4"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 err="1"/>
                  <a:t>kNN</a:t>
                </a:r>
                <a:endParaRPr lang="en-GB" sz="1800" u="sng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Assign to majority class among k nearest data points in the training set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Can also be used for regression: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sz="180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acc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den>
                    </m:f>
                    <m:nary>
                      <m:naryPr>
                        <m:chr m:val="∑"/>
                        <m:supHide m:val="on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m:rPr>
                            <m:brk m:alnAt="7"/>
                          </m:rPr>
                          <a:rPr lang="en-GB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sub>
                      <m:sup/>
                      <m:e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091"/>
                </a:stretch>
              </a:blipFill>
            </p:spPr>
            <p:txBody>
              <a:bodyPr/>
              <a:lstStyle/>
              <a:p>
                <a:r>
                  <a:rPr lang="en-MW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340895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en-GB" sz="1800" b="0" dirty="0"/>
              <a:t>Simple classification / clustering</a:t>
            </a:r>
            <a:r>
              <a:rPr lang="en-GB" sz="1800" dirty="0"/>
              <a:t>: k-nearest neighbour, k-means, …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4D422A-BBA5-D241-BBE8-E92BF4F105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3907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7958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en-GB" sz="1800" b="0" dirty="0"/>
              <a:t>Simple classification / clustering</a:t>
            </a:r>
            <a:r>
              <a:rPr lang="en-GB" sz="1800" dirty="0"/>
              <a:t>: k-nearest neighbour, k-means, …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	</a:t>
            </a:r>
            <a:r>
              <a:rPr lang="en-GB" sz="1800" u="sng" dirty="0"/>
              <a:t>k-means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Start with a random set of initial cluster centroids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Assign samples to nearest centroid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Recompute centroids for each cluster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600" dirty="0"/>
              <a:t>Iterate until convergenc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3768666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18" y="2012659"/>
            <a:ext cx="7843563" cy="623700"/>
          </a:xfrm>
        </p:spPr>
        <p:txBody>
          <a:bodyPr/>
          <a:lstStyle/>
          <a:p>
            <a:pPr algn="ctr"/>
            <a:r>
              <a:rPr lang="en-GB" dirty="0"/>
              <a:t>Artificial intelligence, machine learning, data mining</a:t>
            </a:r>
          </a:p>
        </p:txBody>
      </p:sp>
    </p:spTree>
    <p:extLst>
      <p:ext uri="{BB962C8B-B14F-4D97-AF65-F5344CB8AC3E}">
        <p14:creationId xmlns:p14="http://schemas.microsoft.com/office/powerpoint/2010/main" val="14346589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en-GB" sz="1800" b="0" dirty="0"/>
              <a:t>Simple classification / clustering</a:t>
            </a:r>
            <a:r>
              <a:rPr lang="en-GB" sz="1800" dirty="0"/>
              <a:t>: k-nearest neighbour, k-means, …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r>
              <a:rPr lang="en-GB" sz="1800" b="0" dirty="0"/>
              <a:t>	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FE19DE0-4563-4AE3-8C57-EFE31F6199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5170" y="1471684"/>
            <a:ext cx="5513659" cy="365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91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5"/>
                </a:pPr>
                <a:r>
                  <a:rPr lang="en-GB" sz="1800" b="0" dirty="0"/>
                  <a:t>Kernel density estimation &amp; classification</a:t>
                </a:r>
                <a:endParaRPr lang="en-GB" sz="1800" dirty="0"/>
              </a:p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5"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Kernel density estimation</a:t>
                </a:r>
                <a:r>
                  <a:rPr lang="en-GB" sz="1800" dirty="0"/>
                  <a:t> – drop a probability kernel at each observation: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</m:acc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den>
                    </m:f>
                    <m:nary>
                      <m:naryPr>
                        <m:chr m:val="∑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GB" sz="18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bar>
                              <m:bar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bar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bar>
                                  <m:barPr>
                                    <m:ctrlP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barPr>
                                  <m:e>
                                    <m:r>
                                      <a:rPr lang="en-GB" sz="1800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</m:ba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  <m:e>
                            <m:bar>
                              <m:bar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</m:bar>
                          </m:e>
                        </m:d>
                      </m:e>
                    </m:nary>
                  </m:oMath>
                </a14:m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For classification, estimate densities for each class, then use Bayes’ Rule: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e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</m:acc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</m:acc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bar>
                              <m:bar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bar>
                          </m:e>
                        </m:d>
                      </m:num>
                      <m:den>
                        <m:nary>
                          <m:naryPr>
                            <m:chr m:val="∑"/>
                            <m:supHide m:val="on"/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𝜋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bar>
                                  <m:barPr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barPr>
                                  <m:e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</m:bar>
                              </m:e>
                            </m:d>
                          </m:e>
                        </m:nary>
                      </m:den>
                    </m:f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(Note: only need to estimate densities well near the decision boundary)</a:t>
                </a: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Naïve Bayes</a:t>
                </a:r>
                <a:r>
                  <a:rPr lang="en-GB" sz="1800" b="0" dirty="0"/>
                  <a:t> – useful in high-dimensional problems:</a:t>
                </a:r>
              </a:p>
              <a:p>
                <a:pPr lvl="0">
                  <a:spcBef>
                    <a:spcPts val="0"/>
                  </a:spcBef>
                </a:pPr>
                <a:r>
                  <a:rPr lang="en-GB" sz="1800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</m:acc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∏"/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GB" sz="1800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sup>
                      <m:e>
                        <m:sSub>
                          <m:sSub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</m:acc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𝑚</m:t>
                            </m:r>
                          </m:sub>
                        </m:sSub>
                        <m:d>
                          <m:d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</m:e>
                        </m:d>
                      </m:e>
                    </m:nary>
                  </m:oMath>
                </a14:m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178" b="-1876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547655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5"/>
            </a:pPr>
            <a:r>
              <a:rPr lang="en-GB" sz="1800" b="0" dirty="0"/>
              <a:t>Kernel density estimation &amp; classification</a:t>
            </a:r>
            <a:endParaRPr lang="en-GB" sz="1800" dirty="0"/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5"/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8E0222-7367-4011-89AB-35C65BF712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3130" y="1463259"/>
            <a:ext cx="5528228" cy="367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8059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6"/>
                </a:pPr>
                <a:r>
                  <a:rPr lang="en-GB" sz="1800" b="0" dirty="0"/>
                  <a:t>Mixture models &amp; the EM algorithm</a:t>
                </a:r>
                <a:endParaRPr lang="en-GB" sz="18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Model-based classification &amp; clustering can be framed more generally: 	</a:t>
                </a:r>
                <a:r>
                  <a:rPr lang="en-GB" sz="1800" u="sng" dirty="0"/>
                  <a:t>mixture models: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	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  <m:e>
                        <m:bar>
                          <m:barPr>
                            <m:ctrlP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𝜃</m:t>
                            </m:r>
                          </m:e>
                        </m:bar>
                      </m:e>
                    </m:d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sz="18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b>
                              <m:sSubPr>
                                <m:ctrlPr>
                                  <a:rPr lang="en-GB" sz="180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8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en-GB" sz="18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  <m:d>
                      <m:d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  <m:e>
                        <m:sSub>
                          <m:sSubPr>
                            <m:ctrlPr>
                              <a:rPr lang="en-GB" sz="18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bar>
                              <m:bar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barPr>
                              <m:e>
                                <m:r>
                                  <a:rPr lang="en-GB" sz="18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</m:ba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d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4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In clustering problems, where we have no data with known class labels, the 	optimisation problem becomes quite hard. The </a:t>
                </a:r>
                <a:r>
                  <a:rPr lang="en-GB" sz="1800" u="sng" dirty="0"/>
                  <a:t>expectation-maximisation</a:t>
                </a:r>
                <a:r>
                  <a:rPr lang="en-GB" sz="1800" dirty="0"/>
                  <a:t> 	</a:t>
                </a:r>
                <a:r>
                  <a:rPr lang="en-GB" sz="1800" u="sng" dirty="0"/>
                  <a:t>(EM)</a:t>
                </a:r>
                <a:r>
                  <a:rPr lang="en-GB" sz="1800" dirty="0"/>
                  <a:t> is a solution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4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Start with initial parameters values, then iterate until convergence:</a:t>
                </a:r>
              </a:p>
              <a:p>
                <a:pPr marL="1515837" lvl="3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/>
                </a:pPr>
                <a:r>
                  <a:rPr lang="en-GB" sz="1600" i="1" dirty="0"/>
                  <a:t>Expectation step</a:t>
                </a:r>
                <a:r>
                  <a:rPr lang="en-GB" sz="1600" dirty="0"/>
                  <a:t>: Do a soft assignment of observations to classes.</a:t>
                </a:r>
              </a:p>
              <a:p>
                <a:pPr marL="1515837" lvl="3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/>
                </a:pPr>
                <a:r>
                  <a:rPr lang="en-GB" sz="1600" b="0" i="1" dirty="0"/>
                  <a:t>Maximisation step</a:t>
                </a:r>
                <a:r>
                  <a:rPr lang="en-GB" sz="1600" b="0" dirty="0"/>
                  <a:t>: Optimise the weighted likelihoods for each class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178" r="-122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2991513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</p:spPr>
            <p:txBody>
              <a:bodyPr/>
              <a:lstStyle/>
              <a:p>
                <a:pPr marL="732526" lvl="1" indent="-342900">
                  <a:spcBef>
                    <a:spcPts val="0"/>
                  </a:spcBef>
                  <a:spcAft>
                    <a:spcPts val="200"/>
                  </a:spcAft>
                  <a:buFont typeface="+mj-lt"/>
                  <a:buAutoNum type="arabicPeriod" startAt="7"/>
                </a:pPr>
                <a:r>
                  <a:rPr lang="en-GB" sz="1800" b="0" dirty="0"/>
                  <a:t>LDA, QDA, RDA</a:t>
                </a:r>
                <a:endParaRPr lang="en-GB" sz="16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As for kernel density estimation, classification is based on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GB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𝑗</m:t>
                          </m:r>
                        </m:e>
                        <m:e>
                          <m:bar>
                            <m:bar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barPr>
                            <m:e>
                              <m: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bar>
                        </m:e>
                      </m:d>
                      <m:r>
                        <a:rPr lang="en-GB" sz="18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sz="18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d>
                            <m:dPr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bar>
                                <m:bar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barPr>
                                <m:e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bar>
                            </m:e>
                          </m:d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en-GB" sz="18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n-GB" sz="18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𝜋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GB" sz="18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bar>
                                    <m:barPr>
                                      <m:ctrlP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lang="en-GB" sz="18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</m:bar>
                                </m:e>
                              </m:d>
                            </m:e>
                          </m:nary>
                        </m:den>
                      </m:f>
                    </m:oMath>
                  </m:oMathPara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But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</m:acc>
                      </m:e>
                      <m:sub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d>
                      <m:d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bar>
                          <m:bar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bar>
                      </m:e>
                    </m:d>
                  </m:oMath>
                </a14:m>
                <a:r>
                  <a:rPr lang="en-GB" sz="1800" b="0" dirty="0"/>
                  <a:t> are assumed to be normal distributions of which we estimate 	the parameters.</a:t>
                </a:r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In a two-class problem, it is enough to consider the log-ratio of the 	posterior class probabilities.</a:t>
                </a:r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40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b="0" dirty="0"/>
                  <a:t>	</a:t>
                </a:r>
                <a:r>
                  <a:rPr lang="en-GB" sz="1800" b="0" u="sng" dirty="0"/>
                  <a:t>LDA</a:t>
                </a:r>
                <a:r>
                  <a:rPr lang="en-GB" sz="1800" b="0" dirty="0"/>
                  <a:t>: assume equal covariance matrix for all classes – solution linear in </a:t>
                </a:r>
                <a14:m>
                  <m:oMath xmlns:m="http://schemas.openxmlformats.org/officeDocument/2006/math">
                    <m:bar>
                      <m:bar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bar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QDA</a:t>
                </a:r>
                <a:r>
                  <a:rPr lang="en-GB" sz="1800" dirty="0"/>
                  <a:t>: unequal covariance matrices – solution quadratic in </a:t>
                </a:r>
                <a14:m>
                  <m:oMath xmlns:m="http://schemas.openxmlformats.org/officeDocument/2006/math">
                    <m:bar>
                      <m:bar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bar>
                  </m:oMath>
                </a14:m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r>
                  <a:rPr lang="en-GB" sz="1800" dirty="0"/>
                  <a:t>	</a:t>
                </a:r>
                <a:r>
                  <a:rPr lang="en-GB" sz="1800" u="sng" dirty="0"/>
                  <a:t>RDA</a:t>
                </a:r>
                <a:r>
                  <a:rPr lang="en-GB" sz="1800" dirty="0"/>
                  <a:t>: shrink QDA covariances to a common covariance matrix.</a:t>
                </a:r>
                <a:endParaRPr lang="en-GB" sz="1800" b="0" dirty="0"/>
              </a:p>
              <a:p>
                <a:pPr lvl="1" indent="0">
                  <a:spcBef>
                    <a:spcPts val="0"/>
                  </a:spcBef>
                  <a:spcAft>
                    <a:spcPts val="200"/>
                  </a:spcAft>
                  <a:buNone/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0"/>
                  </a:spcBef>
                </a:pPr>
                <a:endParaRPr lang="en-GB" sz="1800" b="0" dirty="0"/>
              </a:p>
              <a:p>
                <a:pPr lvl="0">
                  <a:spcBef>
                    <a:spcPts val="3000"/>
                  </a:spcBef>
                </a:pPr>
                <a:endParaRPr lang="en-GB" sz="1800" b="0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83383387-0310-4A61-B54B-9D794AA4C9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422031" y="1131300"/>
                <a:ext cx="8490426" cy="3644772"/>
              </a:xfrm>
              <a:blipFill>
                <a:blip r:embed="rId3"/>
                <a:stretch>
                  <a:fillRect t="-2178" b="-35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8792233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7"/>
            </a:pPr>
            <a:r>
              <a:rPr lang="en-GB" sz="1800" b="0" dirty="0"/>
              <a:t>LDA, QDA, RDA</a:t>
            </a:r>
            <a:endParaRPr lang="en-GB" sz="16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	</a:t>
            </a: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529-B090-2B41-A397-D3C6AA8188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421" y="1744865"/>
            <a:ext cx="9115157" cy="3031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25456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Decision trees aim to partition the feature space into sub-regions, with a simple model in each region: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dirty="0"/>
              <a:t>Average value of response variable in region R</a:t>
            </a:r>
            <a:r>
              <a:rPr lang="en-GB" sz="1700" baseline="-25000" dirty="0"/>
              <a:t>m</a:t>
            </a:r>
            <a:r>
              <a:rPr lang="en-GB" sz="1700" dirty="0"/>
              <a:t> (regression)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b="0" dirty="0"/>
              <a:t>Majority class in region R</a:t>
            </a:r>
            <a:r>
              <a:rPr lang="en-GB" sz="1700" b="0" baseline="-25000" dirty="0"/>
              <a:t>m</a:t>
            </a:r>
            <a:r>
              <a:rPr lang="en-GB" sz="1700" b="0" dirty="0"/>
              <a:t> (classification)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At each step the algorithm select</a:t>
            </a:r>
            <a:r>
              <a:rPr lang="en-GB" sz="1800" dirty="0"/>
              <a:t>s a variable and a split on that variable that minimizes a node impurity function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dirty="0"/>
              <a:t>Squared error node impurity (regression)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b="0" dirty="0"/>
              <a:t>Misclassification rate / Gini coefficient / devi</a:t>
            </a:r>
            <a:r>
              <a:rPr lang="en-GB" sz="1700" dirty="0"/>
              <a:t>ance (classification)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To avoid overfitting a cost-complexity function is optimised that penalises large trees.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08274444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017416-8425-674F-8913-82B9096B96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2410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16208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Decision trees are highly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dirty="0"/>
              <a:t>Interpretable.</a:t>
            </a:r>
          </a:p>
          <a:p>
            <a:pPr marL="1065002" lvl="2" indent="-285750">
              <a:spcBef>
                <a:spcPts val="0"/>
              </a:spcBef>
              <a:spcAft>
                <a:spcPts val="200"/>
              </a:spcAft>
            </a:pPr>
            <a:r>
              <a:rPr lang="en-GB" sz="1700" b="0" dirty="0"/>
              <a:t>Unstable (high variance)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800" b="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u="sng" dirty="0"/>
              <a:t>Random forest</a:t>
            </a:r>
            <a:r>
              <a:rPr lang="en-GB" sz="1800" b="0" dirty="0"/>
              <a:t> tries to overcome the latter at the cost of the former: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dirty="0"/>
              <a:t>Draw B bootstrap samples.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b="0" dirty="0"/>
              <a:t>Grow a tree for each bootstrapped dataset</a:t>
            </a:r>
          </a:p>
          <a:p>
            <a:pPr marL="1572987" lvl="3" indent="-400050">
              <a:spcBef>
                <a:spcPts val="0"/>
              </a:spcBef>
              <a:spcAft>
                <a:spcPts val="200"/>
              </a:spcAft>
              <a:buFont typeface="+mj-lt"/>
              <a:buAutoNum type="romanLcPeriod"/>
            </a:pPr>
            <a:r>
              <a:rPr lang="en-GB" sz="1400" dirty="0"/>
              <a:t>Randomly select m out of p variables.</a:t>
            </a:r>
          </a:p>
          <a:p>
            <a:pPr marL="1572987" lvl="3" indent="-400050">
              <a:spcBef>
                <a:spcPts val="0"/>
              </a:spcBef>
              <a:spcAft>
                <a:spcPts val="200"/>
              </a:spcAft>
              <a:buFont typeface="+mj-lt"/>
              <a:buAutoNum type="romanLcPeriod"/>
            </a:pPr>
            <a:r>
              <a:rPr lang="en-GB" sz="1400" b="0" dirty="0"/>
              <a:t>Pick best variable &amp; split among the m variables.</a:t>
            </a:r>
          </a:p>
          <a:p>
            <a:pPr marL="1572987" lvl="3" indent="-400050">
              <a:spcBef>
                <a:spcPts val="0"/>
              </a:spcBef>
              <a:spcAft>
                <a:spcPts val="200"/>
              </a:spcAft>
              <a:buFont typeface="+mj-lt"/>
              <a:buAutoNum type="romanLcPeriod"/>
            </a:pPr>
            <a:r>
              <a:rPr lang="en-GB" sz="1400" b="0" dirty="0"/>
              <a:t>Split the node.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dirty="0"/>
              <a:t>Predict</a:t>
            </a:r>
          </a:p>
          <a:p>
            <a:pPr lvl="3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400" b="0" dirty="0"/>
              <a:t>Regression: average predicted value among the B trees</a:t>
            </a:r>
          </a:p>
          <a:p>
            <a:pPr lvl="3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400" dirty="0"/>
              <a:t>Classification: majority vote among the B trees</a:t>
            </a:r>
            <a:endParaRPr lang="en-GB" sz="14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89400525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8"/>
            </a:pPr>
            <a:r>
              <a:rPr lang="en-GB" sz="1800" b="0" dirty="0"/>
              <a:t>Decision trees &amp; random forest</a:t>
            </a:r>
            <a:endParaRPr lang="en-GB" sz="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913B8A2-0D8C-804B-A0F3-1BDDBB7E78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3784"/>
            <a:ext cx="9144000" cy="30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1800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tificial intellig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b="0" u="sng" dirty="0"/>
              <a:t>Artificial </a:t>
            </a:r>
            <a:r>
              <a:rPr lang="en-GB" u="sng" dirty="0"/>
              <a:t>general</a:t>
            </a:r>
            <a:r>
              <a:rPr lang="en-GB" b="0" u="sng" dirty="0"/>
              <a:t> intelligence</a:t>
            </a:r>
            <a:br>
              <a:rPr lang="en-GB" b="0" dirty="0"/>
            </a:br>
            <a:r>
              <a:rPr lang="en-GB" b="0" dirty="0"/>
              <a:t>Ability of a machine to represent the human mind and perform any human intellectual task.</a:t>
            </a:r>
          </a:p>
          <a:p>
            <a:pPr marL="457200" indent="-457200">
              <a:buFont typeface="+mj-lt"/>
              <a:buAutoNum type="arabicPeriod"/>
            </a:pPr>
            <a:endParaRPr lang="en-GB" b="0" dirty="0"/>
          </a:p>
          <a:p>
            <a:pPr marL="457200" indent="-457200">
              <a:buFont typeface="+mj-lt"/>
              <a:buAutoNum type="arabicPeriod"/>
            </a:pPr>
            <a:r>
              <a:rPr lang="en-GB" b="0" u="sng" dirty="0"/>
              <a:t>Artificial </a:t>
            </a:r>
            <a:r>
              <a:rPr lang="en-GB" u="sng" dirty="0"/>
              <a:t>narrow</a:t>
            </a:r>
            <a:r>
              <a:rPr lang="en-GB" b="0" u="sng" dirty="0"/>
              <a:t> intelligence</a:t>
            </a:r>
            <a:br>
              <a:rPr lang="en-GB" b="0" dirty="0"/>
            </a:br>
            <a:r>
              <a:rPr lang="en-GB" b="0" dirty="0"/>
              <a:t>Ability of a machine to perform a single or a few well-defined intellectual tasks extremely well.</a:t>
            </a:r>
          </a:p>
        </p:txBody>
      </p:sp>
    </p:spTree>
    <p:extLst>
      <p:ext uri="{BB962C8B-B14F-4D97-AF65-F5344CB8AC3E}">
        <p14:creationId xmlns:p14="http://schemas.microsoft.com/office/powerpoint/2010/main" val="239289873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4012200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9"/>
            </a:pPr>
            <a:r>
              <a:rPr lang="en-GB" sz="1800" b="0" dirty="0"/>
              <a:t>Neural networks &amp; deep learning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Developed independently in the fields of statistics</a:t>
            </a:r>
            <a:br>
              <a:rPr lang="en-GB" sz="1800" b="0" dirty="0"/>
            </a:br>
            <a:r>
              <a:rPr lang="en-GB" sz="1800" b="0" dirty="0"/>
              <a:t>(projection pursuit) and artificial intelligenc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The basic idea is: form non-linear functions of linear combination of non-linear functions of linear combinations of …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This results in a </a:t>
            </a:r>
            <a:r>
              <a:rPr lang="en-GB" sz="1800" b="1" dirty="0"/>
              <a:t>universal approximator</a:t>
            </a:r>
            <a:r>
              <a:rPr lang="en-GB" sz="1800" b="0" dirty="0"/>
              <a:t>: for large enough numbers of nodes in the model, any continuous function can be approximated arbitrarily well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b="0" dirty="0"/>
              <a:t>Large class of models (focus here is on the </a:t>
            </a:r>
            <a:r>
              <a:rPr lang="en-GB" sz="1800" b="0" u="sng" dirty="0"/>
              <a:t>multilayer perceptron</a:t>
            </a:r>
            <a:r>
              <a:rPr lang="en-GB" sz="1800" b="0" dirty="0"/>
              <a:t> - MLP), though for ML applications, convolutional neural networks are the standard now.</a:t>
            </a:r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1E1A777-3F37-434B-9BB2-46BC6F9BE6DC}"/>
              </a:ext>
            </a:extLst>
          </p:cNvPr>
          <p:cNvGrpSpPr/>
          <p:nvPr/>
        </p:nvGrpSpPr>
        <p:grpSpPr>
          <a:xfrm>
            <a:off x="6305434" y="1172590"/>
            <a:ext cx="2536382" cy="1550987"/>
            <a:chOff x="6698768" y="1277608"/>
            <a:chExt cx="1989703" cy="121225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810249C-F286-469D-9EF0-AB2D11376E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8768" y="1277608"/>
              <a:ext cx="1781998" cy="1042103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35B9272-73B9-4992-874F-9B6A05CC0031}"/>
                </a:ext>
              </a:extLst>
            </p:cNvPr>
            <p:cNvSpPr txBox="1"/>
            <p:nvPr/>
          </p:nvSpPr>
          <p:spPr>
            <a:xfrm>
              <a:off x="6698768" y="2215775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 err="1"/>
                <a:t>Bre</a:t>
              </a:r>
              <a:r>
                <a:rPr lang="en-GB" sz="600" dirty="0"/>
                <a:t> et al. (2017), 10.1016/j.enbuild.2017.11.045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1EF666C-B639-4B16-8108-83B57B83799E}"/>
              </a:ext>
            </a:extLst>
          </p:cNvPr>
          <p:cNvGrpSpPr/>
          <p:nvPr/>
        </p:nvGrpSpPr>
        <p:grpSpPr>
          <a:xfrm>
            <a:off x="6000505" y="298250"/>
            <a:ext cx="2202839" cy="874339"/>
            <a:chOff x="5275866" y="1517135"/>
            <a:chExt cx="1989703" cy="727932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897679C-9765-4AEA-9D96-6BF1F1C9A7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6013" y="1517135"/>
              <a:ext cx="1497682" cy="509275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7E17BD0-5343-4FBF-A812-3FF73031B84C}"/>
                </a:ext>
              </a:extLst>
            </p:cNvPr>
            <p:cNvSpPr txBox="1"/>
            <p:nvPr/>
          </p:nvSpPr>
          <p:spPr>
            <a:xfrm>
              <a:off x="5275866" y="1970976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Mitchell, T.M. (1997), Machine Learning, McGraw-Hi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465096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9"/>
            </a:pPr>
            <a:r>
              <a:rPr lang="en-GB" sz="1800" b="0" dirty="0"/>
              <a:t>Neural networks &amp; deep learning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48072F-9BDD-2044-B74F-EC70C51A35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66" y="1747954"/>
            <a:ext cx="9105868" cy="302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8293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0"/>
            </a:pPr>
            <a:r>
              <a:rPr lang="en-GB" sz="1800" b="0" dirty="0"/>
              <a:t>Graphical models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A large class of models, that uses graphs (and graph theory) to represent the joint distribution of sets of random variables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2 broad families: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Bayesian networks (directed acyclic graphs)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Markov graphs (undirected graphs)</a:t>
            </a:r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42991893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1"/>
            </a:pPr>
            <a:r>
              <a:rPr lang="en-GB" sz="1800" b="0" dirty="0"/>
              <a:t>PCA &amp; factor analysis</a:t>
            </a: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u="sng" dirty="0"/>
              <a:t>Principle component analysis</a:t>
            </a:r>
            <a:r>
              <a:rPr lang="en-GB" sz="1800" dirty="0"/>
              <a:t> is a dimensionality reduction techniqu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In a set with p correlated variables, it computed a set of p </a:t>
            </a:r>
            <a:r>
              <a:rPr lang="en-GB" sz="1800" b="1" dirty="0"/>
              <a:t>linearly</a:t>
            </a:r>
            <a:r>
              <a:rPr lang="en-GB" sz="1800" dirty="0"/>
              <a:t> uncorrelated variables, ordered by decreasing amounts of varianc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Often used to obtain a lower-dimensional representation of the data, that discards noise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The principal components are just linear combinations of the original variables (though always centre &amp; scale first). The weights / loadings of these linear combinations are often use to describe what the PCs represent.</a:t>
            </a:r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endParaRPr lang="en-GB" sz="7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If this is the main aim, then factor analysis (e.g. not limited to orthogonal combinations) is likely more appropriate.</a:t>
            </a:r>
            <a:endParaRPr lang="en-GB" sz="170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12379213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1"/>
            </a:pPr>
            <a:r>
              <a:rPr lang="en-GB" sz="1800" b="0" dirty="0"/>
              <a:t>PCA &amp; factor analysis</a:t>
            </a:r>
            <a:endParaRPr lang="en-GB" sz="180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888C1F7-59FC-1148-BF8B-8A0DC9DE09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41885"/>
            <a:ext cx="9144000" cy="3034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15157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490426" cy="3644772"/>
          </a:xfrm>
        </p:spPr>
        <p:txBody>
          <a:bodyPr/>
          <a:lstStyle/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2"/>
            </a:pPr>
            <a:r>
              <a:rPr lang="en-GB" sz="1800" b="0" dirty="0"/>
              <a:t>Bootstrap &amp; resampling techniques</a:t>
            </a:r>
          </a:p>
          <a:p>
            <a:pPr marL="732526" lvl="1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 startAt="12"/>
            </a:pPr>
            <a:endParaRPr lang="en-GB" sz="1800" dirty="0"/>
          </a:p>
          <a:p>
            <a:pPr lvl="1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800" dirty="0"/>
              <a:t>This is a set of techniques to use the data itself, to do (usually) one of 3 things:</a:t>
            </a:r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Estimate precision of estimated parameters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Bootstrap (draw a new set of same size from the data with replacement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 err="1"/>
              <a:t>Jackknife</a:t>
            </a:r>
            <a:r>
              <a:rPr lang="en-GB" sz="1600" dirty="0"/>
              <a:t> (systematic subsets of size n-1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endParaRPr lang="en-GB" sz="1200" dirty="0"/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Perform statistical tests via permutation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Permutation tests (permute labels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endParaRPr lang="en-GB" sz="1200" dirty="0"/>
          </a:p>
          <a:p>
            <a:pPr marL="1122152" lvl="2" indent="-342900"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GB" sz="1700" dirty="0"/>
              <a:t>Assess model performance.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Cross-validation, leave-one-out (draw random subsets)</a:t>
            </a:r>
          </a:p>
          <a:p>
            <a:pPr marL="1515837" lvl="3" indent="-342900">
              <a:spcBef>
                <a:spcPts val="0"/>
              </a:spcBef>
              <a:spcAft>
                <a:spcPts val="200"/>
              </a:spcAft>
            </a:pPr>
            <a:r>
              <a:rPr lang="en-GB" sz="1600" dirty="0"/>
              <a:t>Bootstrap</a:t>
            </a:r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82777063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dell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800" b="0" dirty="0"/>
              <a:t>Many, many more!</a:t>
            </a:r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5227089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Machine learning tools for statisticians</a:t>
            </a:r>
          </a:p>
        </p:txBody>
      </p:sp>
    </p:spTree>
    <p:extLst>
      <p:ext uri="{BB962C8B-B14F-4D97-AF65-F5344CB8AC3E}">
        <p14:creationId xmlns:p14="http://schemas.microsoft.com/office/powerpoint/2010/main" val="90508957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R </a:t>
            </a:r>
          </a:p>
          <a:p>
            <a:pPr marL="675376" lvl="1" indent="-285750"/>
            <a:r>
              <a:rPr lang="en-GB" sz="1600" dirty="0">
                <a:hlinkClick r:id="rId3"/>
              </a:rPr>
              <a:t>https://cran.r-project.org/</a:t>
            </a:r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Python + NumPy, SciPy, sci-kit learn…</a:t>
            </a:r>
          </a:p>
          <a:p>
            <a:pPr marL="675376" lvl="1" indent="-285750"/>
            <a:r>
              <a:rPr lang="en-GB" sz="1600" dirty="0">
                <a:hlinkClick r:id="rId4"/>
              </a:rPr>
              <a:t>https://www.python.org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WEKA (multiple interfaces)</a:t>
            </a:r>
          </a:p>
          <a:p>
            <a:pPr marL="675376" lvl="1" indent="-285750"/>
            <a:r>
              <a:rPr lang="en-GB" sz="1600" dirty="0">
                <a:hlinkClick r:id="rId5"/>
              </a:rPr>
              <a:t>https://www.cs.waikato.ac.nz/ml/weka/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Caret (R only)</a:t>
            </a:r>
          </a:p>
          <a:p>
            <a:pPr marL="675376" lvl="1" indent="-285750"/>
            <a:r>
              <a:rPr lang="en-GB" sz="1600" dirty="0">
                <a:hlinkClick r:id="rId6"/>
              </a:rPr>
              <a:t>https://topepo.github.io/caret/index.html</a:t>
            </a:r>
            <a:endParaRPr lang="en-GB" sz="1600" dirty="0"/>
          </a:p>
          <a:p>
            <a:pPr lvl="1" indent="0">
              <a:buNone/>
            </a:pPr>
            <a:endParaRPr lang="en-GB" sz="1300" dirty="0"/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74198130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 indent="0">
              <a:buNone/>
            </a:pPr>
            <a:endParaRPr lang="en-GB" sz="1300" dirty="0"/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 indent="0">
              <a:buNone/>
            </a:pPr>
            <a:endParaRPr lang="en-GB" sz="1600" dirty="0"/>
          </a:p>
          <a:p>
            <a:endParaRPr lang="en-GB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4E9EE92-CC29-4C73-9C55-F2407D8D91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5968" y="1312934"/>
            <a:ext cx="2055090" cy="30792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2C517A1-4878-40A4-9C9F-D5DE49DBF8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9423" y="1312935"/>
            <a:ext cx="2273579" cy="307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4617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tificial intellig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Machine learning</a:t>
            </a:r>
            <a:br>
              <a:rPr lang="en-GB" b="0" u="sng" dirty="0"/>
            </a:br>
            <a:r>
              <a:rPr lang="en-GB" b="0" dirty="0"/>
              <a:t>Often used interchangeably with AI (technically a sub-discipline).</a:t>
            </a:r>
            <a:br>
              <a:rPr lang="en-GB" b="0" dirty="0"/>
            </a:br>
            <a:endParaRPr lang="en-GB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Expert systems</a:t>
            </a:r>
            <a:br>
              <a:rPr lang="en-GB" b="0" u="sng" dirty="0"/>
            </a:br>
            <a:r>
              <a:rPr lang="en-GB" b="0" dirty="0"/>
              <a:t>Requires (</a:t>
            </a:r>
            <a:r>
              <a:rPr lang="en-GB" b="0" dirty="0" err="1"/>
              <a:t>i</a:t>
            </a:r>
            <a:r>
              <a:rPr lang="en-GB" b="0" dirty="0"/>
              <a:t>) knowledge base and (ii) reasoning engine</a:t>
            </a:r>
            <a:br>
              <a:rPr lang="en-GB" b="0" dirty="0"/>
            </a:br>
            <a:endParaRPr lang="en-GB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Natural language processing</a:t>
            </a:r>
          </a:p>
          <a:p>
            <a:endParaRPr lang="en-GB" sz="1800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u="sng" dirty="0"/>
              <a:t>Automated planning &amp; scheduling</a:t>
            </a:r>
          </a:p>
          <a:p>
            <a:endParaRPr lang="en-GB" sz="1800" b="0" u="sng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b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73505047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482577" cy="364477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1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400" dirty="0"/>
              <a:t>Slides &amp; R code: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GB" sz="2800" b="0" dirty="0">
                <a:hlinkClick r:id="rId3"/>
              </a:rPr>
              <a:t>https://github.com/gitMarcH/IndabaX_2021</a:t>
            </a: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>
              <a:spcBef>
                <a:spcPts val="0"/>
              </a:spcBef>
              <a:spcAft>
                <a:spcPts val="200"/>
              </a:spcAft>
            </a:pPr>
            <a:endParaRPr lang="en-GB" sz="2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0"/>
              </a:spcBef>
            </a:pPr>
            <a:endParaRPr lang="en-GB" sz="1800" b="0" dirty="0"/>
          </a:p>
          <a:p>
            <a:pPr lvl="0">
              <a:spcBef>
                <a:spcPts val="3000"/>
              </a:spcBef>
            </a:pPr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267505589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5060363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DD056-E2F5-4F7F-88F3-D986FDC7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559" y="2012659"/>
            <a:ext cx="7594881" cy="623700"/>
          </a:xfrm>
        </p:spPr>
        <p:txBody>
          <a:bodyPr/>
          <a:lstStyle/>
          <a:p>
            <a:pPr algn="ctr"/>
            <a:r>
              <a:rPr lang="en-GB" dirty="0"/>
              <a:t>Shift in research model</a:t>
            </a:r>
          </a:p>
        </p:txBody>
      </p:sp>
    </p:spTree>
    <p:extLst>
      <p:ext uri="{BB962C8B-B14F-4D97-AF65-F5344CB8AC3E}">
        <p14:creationId xmlns:p14="http://schemas.microsoft.com/office/powerpoint/2010/main" val="199990124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31" y="374794"/>
            <a:ext cx="7781314" cy="623700"/>
          </a:xfrm>
        </p:spPr>
        <p:txBody>
          <a:bodyPr/>
          <a:lstStyle/>
          <a:p>
            <a:r>
              <a:rPr lang="en-GB" dirty="0"/>
              <a:t>Multi-scale research &amp; new research</a:t>
            </a:r>
            <a:br>
              <a:rPr lang="en-GB" dirty="0"/>
            </a:br>
            <a:r>
              <a:rPr lang="en-GB" dirty="0"/>
              <a:t>mod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264769" cy="34425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6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3ECCBE-8B2A-4D8D-91E9-918DEBEC3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2046" y="95389"/>
            <a:ext cx="2851954" cy="504811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DA8C7DD-2945-498D-8DA7-5663B18646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76" y="2373799"/>
            <a:ext cx="6202970" cy="21631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6AF0CFE-2679-4CAD-B5CB-22972C8B68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4800" y="2088049"/>
            <a:ext cx="3352800" cy="2857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401B726-D573-429B-B02C-0540D21FC5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37600" y="1296762"/>
            <a:ext cx="754446" cy="1077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12966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I &amp; ML in medic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b="0" dirty="0"/>
              <a:t>Medical research</a:t>
            </a:r>
            <a:br>
              <a:rPr lang="en-GB" b="0" dirty="0"/>
            </a:br>
            <a:r>
              <a:rPr lang="en-GB" sz="1600" b="0" dirty="0"/>
              <a:t>Use ML to understand biological processes or test hypotheses.</a:t>
            </a:r>
            <a:endParaRPr lang="en-GB" b="0" dirty="0"/>
          </a:p>
          <a:p>
            <a:pPr marL="1236452" lvl="2" indent="-457200"/>
            <a:r>
              <a:rPr lang="en-GB" dirty="0"/>
              <a:t>Gene network reconstruction</a:t>
            </a:r>
          </a:p>
          <a:p>
            <a:pPr marL="1236452" lvl="2" indent="-457200"/>
            <a:r>
              <a:rPr lang="en-GB" b="0" dirty="0"/>
              <a:t>Drug target discovery, development, trials (e.g. REMAP designs)</a:t>
            </a:r>
          </a:p>
          <a:p>
            <a:pPr marL="1236452" lvl="2" indent="-457200"/>
            <a:r>
              <a:rPr lang="en-GB" dirty="0"/>
              <a:t>…</a:t>
            </a:r>
            <a:endParaRPr lang="en-GB" sz="1800" b="0" dirty="0"/>
          </a:p>
          <a:p>
            <a:pPr marL="457200" indent="-457200">
              <a:buFont typeface="+mj-lt"/>
              <a:buAutoNum type="arabicPeriod"/>
            </a:pPr>
            <a:r>
              <a:rPr lang="en-GB" b="0" dirty="0"/>
              <a:t>Clinical practice</a:t>
            </a:r>
            <a:br>
              <a:rPr lang="en-GB" b="0" dirty="0"/>
            </a:br>
            <a:r>
              <a:rPr lang="en-GB" sz="1600" b="0" dirty="0"/>
              <a:t>Use AI to aid with clinical decision making or fine-tuning treatment.</a:t>
            </a:r>
          </a:p>
          <a:p>
            <a:pPr marL="1236452" lvl="2" indent="-457200"/>
            <a:r>
              <a:rPr lang="en-GB" dirty="0"/>
              <a:t>Personalised medicine</a:t>
            </a:r>
          </a:p>
          <a:p>
            <a:pPr marL="1236452" lvl="2" indent="-457200"/>
            <a:r>
              <a:rPr lang="en-GB" dirty="0"/>
              <a:t>Expert systems</a:t>
            </a:r>
          </a:p>
          <a:p>
            <a:pPr marL="1236452" lvl="2" indent="-457200"/>
            <a:r>
              <a:rPr lang="en-GB" dirty="0"/>
              <a:t>Image processing</a:t>
            </a:r>
          </a:p>
          <a:p>
            <a:pPr marL="1236452" lvl="2" indent="-457200"/>
            <a:r>
              <a:rPr lang="en-GB" sz="1400" b="0" dirty="0"/>
              <a:t>…</a:t>
            </a:r>
          </a:p>
          <a:p>
            <a:pPr marL="457200" indent="-457200">
              <a:buFont typeface="+mj-lt"/>
              <a:buAutoNum type="arabicPeriod"/>
            </a:pPr>
            <a:r>
              <a:rPr lang="en-GB" b="0" dirty="0"/>
              <a:t>Health system management</a:t>
            </a:r>
          </a:p>
        </p:txBody>
      </p:sp>
    </p:spTree>
    <p:extLst>
      <p:ext uri="{BB962C8B-B14F-4D97-AF65-F5344CB8AC3E}">
        <p14:creationId xmlns:p14="http://schemas.microsoft.com/office/powerpoint/2010/main" val="3642564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b="0" dirty="0"/>
              <a:t>Given a set of training data vectors {</a:t>
            </a:r>
            <a:r>
              <a:rPr lang="en-GB" sz="1800" dirty="0"/>
              <a:t>x</a:t>
            </a:r>
            <a:r>
              <a:rPr lang="en-GB" sz="1800" baseline="-25000" dirty="0"/>
              <a:t>1</a:t>
            </a:r>
            <a:r>
              <a:rPr lang="en-GB" sz="1800" b="0" dirty="0"/>
              <a:t>, ..., </a:t>
            </a:r>
            <a:r>
              <a:rPr lang="en-GB" sz="1800" dirty="0" err="1"/>
              <a:t>x</a:t>
            </a:r>
            <a:r>
              <a:rPr lang="en-GB" sz="1800" baseline="-25000" dirty="0" err="1"/>
              <a:t>n</a:t>
            </a:r>
            <a:r>
              <a:rPr lang="en-GB" sz="1800" b="0" dirty="0"/>
              <a:t>}, learn / tune / estimate a certain parameter of an adaptive model </a:t>
            </a:r>
            <a:r>
              <a:rPr lang="en-GB" sz="1800" b="0" dirty="0">
                <a:latin typeface="Lucida Handwriting" panose="03010101010101010101" pitchFamily="66" charset="0"/>
              </a:rPr>
              <a:t>M</a:t>
            </a:r>
            <a:r>
              <a:rPr lang="en-GB" sz="1800" b="0" dirty="0"/>
              <a:t>.</a:t>
            </a:r>
          </a:p>
          <a:p>
            <a:endParaRPr lang="en-GB" sz="1800" b="0" dirty="0"/>
          </a:p>
          <a:p>
            <a:r>
              <a:rPr lang="en-GB" sz="1800" b="0" dirty="0"/>
              <a:t>Focus is on how to instruct a computer to do this task.</a:t>
            </a:r>
          </a:p>
          <a:p>
            <a:endParaRPr lang="en-GB" sz="1800" b="0" dirty="0"/>
          </a:p>
          <a:p>
            <a:r>
              <a:rPr lang="en-GB" sz="1800" b="0" dirty="0"/>
              <a:t>“</a:t>
            </a:r>
            <a:r>
              <a:rPr lang="en-US" sz="1800" b="0" dirty="0"/>
              <a:t>The field of machine learning is concerned with the question of </a:t>
            </a:r>
            <a:r>
              <a:rPr lang="en-US" sz="1800" dirty="0"/>
              <a:t>how to construct computer programs that automatically improve</a:t>
            </a:r>
            <a:r>
              <a:rPr lang="en-US" sz="1800" b="0" dirty="0"/>
              <a:t> with experience.”</a:t>
            </a:r>
          </a:p>
          <a:p>
            <a:r>
              <a:rPr lang="en-US" sz="1200" b="0" dirty="0"/>
              <a:t>						          </a:t>
            </a:r>
            <a:r>
              <a:rPr lang="en-US" sz="1050" b="0" dirty="0"/>
              <a:t>Mitchell, T.M., Machine Learning, </a:t>
            </a:r>
            <a:r>
              <a:rPr lang="en-GB" sz="1050" b="0" dirty="0"/>
              <a:t>McGraw-Hill, 1997</a:t>
            </a:r>
          </a:p>
          <a:p>
            <a:endParaRPr lang="en-GB" sz="1800" b="0" dirty="0"/>
          </a:p>
          <a:p>
            <a:r>
              <a:rPr lang="en-GB" sz="1800" b="0" dirty="0"/>
              <a:t>In practice, the goal is usually prediction.</a:t>
            </a:r>
          </a:p>
          <a:p>
            <a:endParaRPr lang="en-GB" sz="1600" dirty="0"/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39285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09C22F-CFA7-49F4-9469-5CCDAEA3A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- typ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383387-0310-4A61-B54B-9D794AA4C9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846826" lvl="1" indent="-457200">
              <a:buFont typeface="+mj-lt"/>
              <a:buAutoNum type="arabicPeriod"/>
            </a:pPr>
            <a:r>
              <a:rPr lang="en-GB" sz="2000" dirty="0"/>
              <a:t>Supervised</a:t>
            </a:r>
          </a:p>
          <a:p>
            <a:pPr marL="1236452" lvl="2" indent="-457200"/>
            <a:r>
              <a:rPr lang="en-GB" sz="1800" dirty="0"/>
              <a:t>Classification</a:t>
            </a:r>
          </a:p>
          <a:p>
            <a:pPr marL="1236452" lvl="2" indent="-457200"/>
            <a:r>
              <a:rPr lang="en-GB" sz="1800" dirty="0"/>
              <a:t>Regression</a:t>
            </a:r>
          </a:p>
          <a:p>
            <a:pPr marL="1236452" lvl="2" indent="-457200"/>
            <a:endParaRPr lang="en-GB" sz="900" dirty="0"/>
          </a:p>
          <a:p>
            <a:pPr marL="846826" lvl="1" indent="-457200">
              <a:buFont typeface="+mj-lt"/>
              <a:buAutoNum type="arabicPeriod"/>
            </a:pPr>
            <a:r>
              <a:rPr lang="en-GB" sz="2000" b="0" dirty="0"/>
              <a:t>Unsupervised</a:t>
            </a:r>
          </a:p>
          <a:p>
            <a:pPr marL="1236452" lvl="2" indent="-457200"/>
            <a:r>
              <a:rPr lang="en-GB" sz="1800" dirty="0"/>
              <a:t>Clustering</a:t>
            </a:r>
          </a:p>
          <a:p>
            <a:pPr marL="1236452" lvl="2" indent="-457200"/>
            <a:r>
              <a:rPr lang="en-GB" sz="1800" dirty="0"/>
              <a:t>Density estimation</a:t>
            </a:r>
          </a:p>
          <a:p>
            <a:pPr marL="1236452" lvl="2" indent="-457200"/>
            <a:r>
              <a:rPr lang="en-GB" sz="1800" dirty="0"/>
              <a:t>Visualisation</a:t>
            </a:r>
          </a:p>
          <a:p>
            <a:pPr marL="1236452" lvl="2" indent="-457200"/>
            <a:r>
              <a:rPr lang="en-GB" sz="1800" b="0" dirty="0"/>
              <a:t>Data mining</a:t>
            </a:r>
          </a:p>
          <a:p>
            <a:pPr marL="1236452" lvl="2" indent="-457200"/>
            <a:endParaRPr lang="en-GB" sz="900" b="0" dirty="0"/>
          </a:p>
          <a:p>
            <a:pPr marL="846826" lvl="1" indent="-457200">
              <a:buFont typeface="+mj-lt"/>
              <a:buAutoNum type="arabicPeriod"/>
            </a:pPr>
            <a:r>
              <a:rPr lang="en-GB" sz="2000" dirty="0"/>
              <a:t>Reinforcement learning</a:t>
            </a:r>
          </a:p>
          <a:p>
            <a:pPr lvl="1" indent="0">
              <a:buNone/>
            </a:pPr>
            <a:endParaRPr lang="en-GB" sz="1800" dirty="0"/>
          </a:p>
          <a:p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24487390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4F4CBD-4E3B-4C1D-ABAB-2C8D98933F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893435"/>
            <a:ext cx="4038600" cy="370118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Neural networks</a:t>
            </a:r>
          </a:p>
          <a:p>
            <a:pPr marL="732526" lvl="1" indent="-342900"/>
            <a:r>
              <a:rPr lang="en-GB" sz="1600" dirty="0"/>
              <a:t>Artificial neuron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Multilayer </a:t>
            </a:r>
            <a:r>
              <a:rPr lang="en-GB" sz="1600" dirty="0" err="1"/>
              <a:t>perceptrons</a:t>
            </a:r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Self-organising maps</a:t>
            </a:r>
          </a:p>
          <a:p>
            <a:pPr marL="732526" lvl="1" indent="-342900"/>
            <a:endParaRPr lang="en-GB" sz="1600" dirty="0"/>
          </a:p>
          <a:p>
            <a:pPr marL="732526" lvl="1" indent="-342900"/>
            <a:r>
              <a:rPr lang="en-GB" sz="1600" dirty="0"/>
              <a:t>Deep learning</a:t>
            </a:r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pPr marL="342900" indent="-342900"/>
            <a:endParaRPr lang="en-GB" sz="1800" dirty="0"/>
          </a:p>
          <a:p>
            <a:endParaRPr lang="en-GB" sz="1800" dirty="0"/>
          </a:p>
          <a:p>
            <a:pPr marL="732526" lvl="1" indent="-342900"/>
            <a:endParaRPr lang="en-GB" sz="16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9F1D379-8855-4329-BAF8-DD3027E62C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142" y="3470757"/>
            <a:ext cx="954171" cy="7830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DCD78B-D541-41A1-8EE3-6E23BB88B0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9613" y="4085834"/>
            <a:ext cx="3960821" cy="10347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5B0F93-6E28-4496-88F5-6C8AA3D6E332}"/>
              </a:ext>
            </a:extLst>
          </p:cNvPr>
          <p:cNvSpPr txBox="1"/>
          <p:nvPr/>
        </p:nvSpPr>
        <p:spPr>
          <a:xfrm>
            <a:off x="7442859" y="4824144"/>
            <a:ext cx="1767858" cy="27409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600" dirty="0" err="1"/>
              <a:t>Esteva</a:t>
            </a:r>
            <a:r>
              <a:rPr lang="en-GB" sz="600" dirty="0"/>
              <a:t> et al. (2017), 10.1038/nature21056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C5CABB6-5575-451F-8DB5-7A9AB9255AFA}"/>
              </a:ext>
            </a:extLst>
          </p:cNvPr>
          <p:cNvGrpSpPr/>
          <p:nvPr/>
        </p:nvGrpSpPr>
        <p:grpSpPr>
          <a:xfrm>
            <a:off x="5909063" y="2102689"/>
            <a:ext cx="1989703" cy="1212258"/>
            <a:chOff x="6698768" y="1277608"/>
            <a:chExt cx="1989703" cy="12122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8D5EF76-6553-4B82-AACB-2B2F08F0F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8768" y="1277608"/>
              <a:ext cx="1781998" cy="1042103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E557E52-C91E-4F44-B24E-B40BDEA43DD7}"/>
                </a:ext>
              </a:extLst>
            </p:cNvPr>
            <p:cNvSpPr txBox="1"/>
            <p:nvPr/>
          </p:nvSpPr>
          <p:spPr>
            <a:xfrm>
              <a:off x="6698768" y="2215775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 err="1"/>
                <a:t>Bre</a:t>
              </a:r>
              <a:r>
                <a:rPr lang="en-GB" sz="600" dirty="0"/>
                <a:t> et al. (2017), 10.1016/j.enbuild.2017.11.045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CC51495-72E8-4AAE-B012-74CB6918F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chine learning - algorith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BF64A6-52E1-4F8D-B8EC-AB2E9EC21E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914814"/>
            <a:ext cx="4038600" cy="367980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Decision trees &amp; random fore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Support vector mach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Ensemble lear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835E9C4-ED56-4EDE-A7D3-564DD6D74AA6}"/>
              </a:ext>
            </a:extLst>
          </p:cNvPr>
          <p:cNvGrpSpPr/>
          <p:nvPr/>
        </p:nvGrpSpPr>
        <p:grpSpPr>
          <a:xfrm>
            <a:off x="6659327" y="1175298"/>
            <a:ext cx="1989703" cy="727932"/>
            <a:chOff x="5275866" y="1517135"/>
            <a:chExt cx="1989703" cy="72793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A842674-895C-4741-BDA0-993393890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6013" y="1517135"/>
              <a:ext cx="1497682" cy="50927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D308990-9468-417E-9EE6-673E6ED8467F}"/>
                </a:ext>
              </a:extLst>
            </p:cNvPr>
            <p:cNvSpPr txBox="1"/>
            <p:nvPr/>
          </p:nvSpPr>
          <p:spPr>
            <a:xfrm>
              <a:off x="5275866" y="1970976"/>
              <a:ext cx="1989703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Mitchell, T.M. (1997), Machine Learning, McGraw-Hill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2C11320-C432-47C8-BA99-848C42064915}"/>
              </a:ext>
            </a:extLst>
          </p:cNvPr>
          <p:cNvGrpSpPr/>
          <p:nvPr/>
        </p:nvGrpSpPr>
        <p:grpSpPr>
          <a:xfrm>
            <a:off x="2319744" y="3543555"/>
            <a:ext cx="2673505" cy="1563572"/>
            <a:chOff x="6470494" y="3579928"/>
            <a:chExt cx="2673505" cy="15635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8B14A12-8145-4839-92FC-9AAA2F040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06234" y="3579928"/>
              <a:ext cx="2137765" cy="1563572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9F3F940-7ADC-411C-A479-6F545C041E77}"/>
                </a:ext>
              </a:extLst>
            </p:cNvPr>
            <p:cNvSpPr txBox="1"/>
            <p:nvPr/>
          </p:nvSpPr>
          <p:spPr>
            <a:xfrm>
              <a:off x="6470494" y="4636616"/>
              <a:ext cx="1293919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Henrion et al., unpublished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347092-5401-45DD-817C-243829BC44DA}"/>
              </a:ext>
            </a:extLst>
          </p:cNvPr>
          <p:cNvGrpSpPr/>
          <p:nvPr/>
        </p:nvGrpSpPr>
        <p:grpSpPr>
          <a:xfrm>
            <a:off x="2623785" y="2153801"/>
            <a:ext cx="2048009" cy="1201834"/>
            <a:chOff x="2623785" y="2462138"/>
            <a:chExt cx="2048009" cy="120183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7EEE63F-4482-4177-90D5-112E83A456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23785" y="2462138"/>
              <a:ext cx="1848423" cy="101879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3309F57-8489-4239-BF76-839D896D9B83}"/>
                </a:ext>
              </a:extLst>
            </p:cNvPr>
            <p:cNvSpPr txBox="1"/>
            <p:nvPr/>
          </p:nvSpPr>
          <p:spPr>
            <a:xfrm>
              <a:off x="3385888" y="3389881"/>
              <a:ext cx="1285906" cy="27409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GB" sz="600" dirty="0"/>
                <a:t>globalsoftwaresupport.com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1BC71E1-B33B-416A-ADBE-8A5E0DFF39A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129" y="2163459"/>
            <a:ext cx="1362027" cy="89070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6F80F65-AFD8-4731-BA4B-A2202ED14577}"/>
              </a:ext>
            </a:extLst>
          </p:cNvPr>
          <p:cNvSpPr txBox="1"/>
          <p:nvPr/>
        </p:nvSpPr>
        <p:spPr>
          <a:xfrm>
            <a:off x="568662" y="2937931"/>
            <a:ext cx="2241358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Van den </a:t>
            </a:r>
            <a:r>
              <a:rPr lang="en-GB" sz="600" dirty="0" err="1"/>
              <a:t>Eijkel</a:t>
            </a:r>
            <a:r>
              <a:rPr lang="en-GB" sz="600" dirty="0"/>
              <a:t>, G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771AC20-C01C-4845-82F8-6637350A8DE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77952" y="2848157"/>
            <a:ext cx="1270303" cy="114839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91B8C9F-12F8-4679-9208-D9FB8A837409}"/>
              </a:ext>
            </a:extLst>
          </p:cNvPr>
          <p:cNvSpPr txBox="1"/>
          <p:nvPr/>
        </p:nvSpPr>
        <p:spPr>
          <a:xfrm>
            <a:off x="6067221" y="3533467"/>
            <a:ext cx="1912400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 err="1"/>
              <a:t>Silipo</a:t>
            </a:r>
            <a:r>
              <a:rPr lang="en-GB" sz="600" dirty="0"/>
              <a:t>, R. (2007), Intelligent Data Analysis, 2</a:t>
            </a:r>
            <a:r>
              <a:rPr lang="en-GB" sz="600" baseline="30000" dirty="0"/>
              <a:t>nd</a:t>
            </a:r>
            <a:r>
              <a:rPr lang="en-GB" sz="600" dirty="0"/>
              <a:t> ed., Berthold M., Hand, D.J., (eds.), Spring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994518-D175-4356-9BE9-99C45D500B47}"/>
              </a:ext>
            </a:extLst>
          </p:cNvPr>
          <p:cNvSpPr txBox="1"/>
          <p:nvPr/>
        </p:nvSpPr>
        <p:spPr>
          <a:xfrm>
            <a:off x="1522126" y="3874558"/>
            <a:ext cx="153125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600" dirty="0"/>
              <a:t>Bishop, C. (2007), Pattern Recognition and Machine Learning, Springer</a:t>
            </a:r>
          </a:p>
        </p:txBody>
      </p:sp>
    </p:spTree>
    <p:extLst>
      <p:ext uri="{BB962C8B-B14F-4D97-AF65-F5344CB8AC3E}">
        <p14:creationId xmlns:p14="http://schemas.microsoft.com/office/powerpoint/2010/main" val="59859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LW 2017 Site Visit Wide format">
  <a:themeElements>
    <a:clrScheme name="Unitaid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B0120E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E2E2E2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LW 2017 Site Visit Wide format.potx</Template>
  <TotalTime>12771</TotalTime>
  <Words>2919</Words>
  <Application>Microsoft Macintosh PowerPoint</Application>
  <PresentationFormat>On-screen Show (16:9)</PresentationFormat>
  <Paragraphs>613</Paragraphs>
  <Slides>64</Slides>
  <Notes>5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4</vt:i4>
      </vt:variant>
    </vt:vector>
  </HeadingPairs>
  <TitlesOfParts>
    <vt:vector size="70" baseType="lpstr">
      <vt:lpstr>Arial</vt:lpstr>
      <vt:lpstr>Calibri</vt:lpstr>
      <vt:lpstr>Cambria Math</vt:lpstr>
      <vt:lpstr>Lucida Handwriting</vt:lpstr>
      <vt:lpstr>MLW 2017 Site Visit Wide format</vt:lpstr>
      <vt:lpstr>think-cell Slide</vt:lpstr>
      <vt:lpstr>PowerPoint Presentation</vt:lpstr>
      <vt:lpstr>Resources</vt:lpstr>
      <vt:lpstr>Background</vt:lpstr>
      <vt:lpstr>Artificial intelligence, machine learning, data mining</vt:lpstr>
      <vt:lpstr>Artificial intelligence</vt:lpstr>
      <vt:lpstr>Artificial intelligence</vt:lpstr>
      <vt:lpstr>Machine learning</vt:lpstr>
      <vt:lpstr>Machine learning - types</vt:lpstr>
      <vt:lpstr>Machine learning - algorithms</vt:lpstr>
      <vt:lpstr>… &amp; statistics?</vt:lpstr>
      <vt:lpstr>Statistics</vt:lpstr>
      <vt:lpstr>Machine learning - algorithms</vt:lpstr>
      <vt:lpstr>Statistics</vt:lpstr>
      <vt:lpstr>Statistics – bias-variance trade-off</vt:lpstr>
      <vt:lpstr>Statistics – bias-variance trade-off</vt:lpstr>
      <vt:lpstr>Statistics – bias-variance trade-off</vt:lpstr>
      <vt:lpstr>Statistics</vt:lpstr>
      <vt:lpstr>Statistics</vt:lpstr>
      <vt:lpstr>Statistical decision theory</vt:lpstr>
      <vt:lpstr>An overly broad generalisation…</vt:lpstr>
      <vt:lpstr>An overly broad generalisation…</vt:lpstr>
      <vt:lpstr>Reasoning under uncertainty</vt:lpstr>
      <vt:lpstr>Statistics &amp; machine learning</vt:lpstr>
      <vt:lpstr>Terminology / history</vt:lpstr>
      <vt:lpstr>PowerPoint Presentation</vt:lpstr>
      <vt:lpstr>Equivalent terminology &amp; models</vt:lpstr>
      <vt:lpstr>12 key (statistical) techniques for data scientist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Key modelling techniques</vt:lpstr>
      <vt:lpstr>Machine learning tools for statisticians</vt:lpstr>
      <vt:lpstr>Resources</vt:lpstr>
      <vt:lpstr>Resources</vt:lpstr>
      <vt:lpstr>Resources</vt:lpstr>
      <vt:lpstr>Thank you.</vt:lpstr>
      <vt:lpstr>Shift in research model</vt:lpstr>
      <vt:lpstr>Multi-scale research &amp; new research model</vt:lpstr>
      <vt:lpstr>AI &amp; ML in medicine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Berthaud, Fanny</dc:creator>
  <cp:lastModifiedBy>Marc Henrion</cp:lastModifiedBy>
  <cp:revision>759</cp:revision>
  <cp:lastPrinted>2017-03-29T06:08:15Z</cp:lastPrinted>
  <dcterms:created xsi:type="dcterms:W3CDTF">2010-04-13T12:31:45Z</dcterms:created>
  <dcterms:modified xsi:type="dcterms:W3CDTF">2021-07-21T15:4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UNITAID 2014 (A4)</vt:lpwstr>
  </property>
  <property fmtid="{D5CDD505-2E9C-101B-9397-08002B2CF9AE}" pid="4" name="Template Name">
    <vt:lpwstr>A4</vt:lpwstr>
  </property>
</Properties>
</file>